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Lst>
  <p:notesMasterIdLst>
    <p:notesMasterId r:id="rId13"/>
  </p:notesMasterIdLst>
  <p:handoutMasterIdLst>
    <p:handoutMasterId r:id="rId14"/>
  </p:handoutMasterIdLst>
  <p:sldIdLst>
    <p:sldId id="311" r:id="rId3"/>
    <p:sldId id="413" r:id="rId4"/>
    <p:sldId id="418" r:id="rId5"/>
    <p:sldId id="420" r:id="rId6"/>
    <p:sldId id="419" r:id="rId7"/>
    <p:sldId id="414" r:id="rId8"/>
    <p:sldId id="415" r:id="rId9"/>
    <p:sldId id="417" r:id="rId10"/>
    <p:sldId id="416" r:id="rId11"/>
    <p:sldId id="273" r:id="rId12"/>
  </p:sldIdLst>
  <p:sldSz cx="9906000" cy="6858000" type="A4"/>
  <p:notesSz cx="6797675" cy="9874250"/>
  <p:custDataLst>
    <p:tags r:id="rId15"/>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7">
          <p15:clr>
            <a:srgbClr val="A4A3A4"/>
          </p15:clr>
        </p15:guide>
        <p15:guide id="2" orient="horz" pos="3816">
          <p15:clr>
            <a:srgbClr val="A4A3A4"/>
          </p15:clr>
        </p15:guide>
        <p15:guide id="3" orient="horz" pos="4163">
          <p15:clr>
            <a:srgbClr val="A4A3A4"/>
          </p15:clr>
        </p15:guide>
        <p15:guide id="4" pos="3068">
          <p15:clr>
            <a:srgbClr val="A4A3A4"/>
          </p15:clr>
        </p15:guide>
        <p15:guide id="5" pos="3172">
          <p15:clr>
            <a:srgbClr val="A4A3A4"/>
          </p15:clr>
        </p15:guide>
        <p15:guide id="6" pos="217">
          <p15:clr>
            <a:srgbClr val="A4A3A4"/>
          </p15:clr>
        </p15:guide>
        <p15:guide id="7" pos="6000">
          <p15:clr>
            <a:srgbClr val="A4A3A4"/>
          </p15:clr>
        </p15:guide>
        <p15:guide id="8" pos="421">
          <p15:clr>
            <a:srgbClr val="A4A3A4"/>
          </p15:clr>
        </p15:guide>
        <p15:guide id="9" pos="581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EAF27"/>
    <a:srgbClr val="49741A"/>
    <a:srgbClr val="004C66"/>
    <a:srgbClr val="436A18"/>
    <a:srgbClr val="ED771A"/>
    <a:srgbClr val="000000"/>
    <a:srgbClr val="FFFFFF"/>
    <a:srgbClr val="EAEAEA"/>
    <a:srgbClr val="A2BFAF"/>
    <a:srgbClr val="AF1C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441" autoAdjust="0"/>
    <p:restoredTop sz="94638" autoAdjust="0"/>
  </p:normalViewPr>
  <p:slideViewPr>
    <p:cSldViewPr snapToObjects="1">
      <p:cViewPr varScale="1">
        <p:scale>
          <a:sx n="90" d="100"/>
          <a:sy n="90" d="100"/>
        </p:scale>
        <p:origin x="1722" y="84"/>
      </p:cViewPr>
      <p:guideLst>
        <p:guide orient="horz" pos="867"/>
        <p:guide orient="horz" pos="3816"/>
        <p:guide orient="horz" pos="4163"/>
        <p:guide pos="3068"/>
        <p:guide pos="3172"/>
        <p:guide pos="217"/>
        <p:guide pos="6000"/>
        <p:guide pos="421"/>
        <p:guide pos="581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2" d="100"/>
          <a:sy n="72" d="100"/>
        </p:scale>
        <p:origin x="-2220" y="-9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3990462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8/9/2019</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1522370204"/>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704696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dirty="0"/>
          </a:p>
        </p:txBody>
      </p:sp>
    </p:spTree>
    <p:extLst>
      <p:ext uri="{BB962C8B-B14F-4D97-AF65-F5344CB8AC3E}">
        <p14:creationId xmlns:p14="http://schemas.microsoft.com/office/powerpoint/2010/main" val="350498429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3.emf"/><Relationship Id="rId5" Type="http://schemas.openxmlformats.org/officeDocument/2006/relationships/tags" Target="../tags/tag12.xml"/><Relationship Id="rId10" Type="http://schemas.openxmlformats.org/officeDocument/2006/relationships/image" Target="../media/image1.emf"/><Relationship Id="rId4" Type="http://schemas.openxmlformats.org/officeDocument/2006/relationships/tags" Target="../tags/tag11.xml"/><Relationship Id="rId9"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tags" Target="../tags/tag31.xml"/><Relationship Id="rId7" Type="http://schemas.openxmlformats.org/officeDocument/2006/relationships/image" Target="../media/image9.png"/><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10" Type="http://schemas.openxmlformats.org/officeDocument/2006/relationships/hyperlink" Target="http://www.capgemini.com/utilities" TargetMode="External"/><Relationship Id="rId4" Type="http://schemas.openxmlformats.org/officeDocument/2006/relationships/slideMaster" Target="../slideMasters/slideMaster2.xml"/><Relationship Id="rId9" Type="http://schemas.openxmlformats.org/officeDocument/2006/relationships/hyperlink" Target="http://www.capgemini.com/about/how-we-work/the-collaborative-business-experiencetm" TargetMode="External"/></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0.png"/><Relationship Id="rId7" Type="http://schemas.openxmlformats.org/officeDocument/2006/relationships/image" Target="../media/image12.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4.png"/><Relationship Id="rId5" Type="http://schemas.openxmlformats.org/officeDocument/2006/relationships/image" Target="../media/image11.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Utilities 1">
    <p:spTree>
      <p:nvGrpSpPr>
        <p:cNvPr id="1" name=""/>
        <p:cNvGrpSpPr/>
        <p:nvPr/>
      </p:nvGrpSpPr>
      <p:grpSpPr>
        <a:xfrm>
          <a:off x="0" y="0"/>
          <a:ext cx="0" cy="0"/>
          <a:chOff x="0" y="0"/>
          <a:chExt cx="0" cy="0"/>
        </a:xfrm>
      </p:grpSpPr>
      <p:pic>
        <p:nvPicPr>
          <p:cNvPr id="156" name="Picture 155" descr="Jayanti_shutterstock_437098156.jpg"/>
          <p:cNvPicPr>
            <a:picLocks noChangeAspect="1"/>
          </p:cNvPicPr>
          <p:nvPr userDrawn="1"/>
        </p:nvPicPr>
        <p:blipFill>
          <a:blip r:embed="rId8" cstate="print"/>
          <a:stretch>
            <a:fillRect/>
          </a:stretch>
        </p:blipFill>
        <p:spPr>
          <a:xfrm>
            <a:off x="0" y="602491"/>
            <a:ext cx="9906000" cy="6270498"/>
          </a:xfrm>
          <a:prstGeom prst="rect">
            <a:avLst/>
          </a:prstGeom>
        </p:spPr>
      </p:pic>
      <p:sp>
        <p:nvSpPr>
          <p:cNvPr id="157" name="Rectangle 156"/>
          <p:cNvSpPr/>
          <p:nvPr userDrawn="1"/>
        </p:nvSpPr>
        <p:spPr bwMode="auto">
          <a:xfrm>
            <a:off x="0" y="689548"/>
            <a:ext cx="9906000" cy="6168452"/>
          </a:xfrm>
          <a:prstGeom prst="rect">
            <a:avLst/>
          </a:prstGeom>
          <a:gradFill>
            <a:gsLst>
              <a:gs pos="100000">
                <a:srgbClr val="00AFE3">
                  <a:alpha val="0"/>
                </a:srgbClr>
              </a:gs>
              <a:gs pos="28000">
                <a:srgbClr val="00AFE3">
                  <a:alpha val="61000"/>
                </a:srgbClr>
              </a:gs>
            </a:gsLst>
            <a:lin ang="5400000" scaled="1"/>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2000" b="1" dirty="0">
              <a:solidFill>
                <a:srgbClr val="FFFFFF"/>
              </a:solidFill>
              <a:cs typeface="Arial" charset="0"/>
            </a:endParaRPr>
          </a:p>
        </p:txBody>
      </p:sp>
      <p:graphicFrame>
        <p:nvGraphicFramePr>
          <p:cNvPr id="4" name="Object 3"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365" name="think-cell Slide" r:id="rId9" imgW="360" imgH="360" progId="">
                  <p:embed/>
                </p:oleObj>
              </mc:Choice>
              <mc:Fallback>
                <p:oleObj name="think-cell Slide" r:id="rId9" imgW="360" imgH="360" progId="">
                  <p:embed/>
                  <p:pic>
                    <p:nvPicPr>
                      <p:cNvPr id="0" name="Picture 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userDrawn="1">
            <p:ph type="title" hasCustomPrompt="1"/>
            <p:custDataLst>
              <p:tags r:id="rId3"/>
            </p:custDataLst>
          </p:nvPr>
        </p:nvSpPr>
        <p:spPr>
          <a:xfrm>
            <a:off x="3598863" y="2420888"/>
            <a:ext cx="5638800" cy="1152128"/>
          </a:xfrm>
          <a:effectLst>
            <a:outerShdw blurRad="25400" dist="25400" dir="2700000" algn="tl" rotWithShape="0">
              <a:prstClr val="black">
                <a:alpha val="80000"/>
              </a:prstClr>
            </a:outerShdw>
          </a:effectLst>
        </p:spPr>
        <p:txBody>
          <a:bodyPr vert="horz" lIns="0" tIns="0" rIns="0" bIns="0" rtlCol="0" anchor="b" anchorCtr="0">
            <a:noAutofit/>
          </a:bodyPr>
          <a:lstStyle>
            <a:lvl1pPr algn="r" defTabSz="995690" rtl="0" eaLnBrk="1" latinLnBrk="0" hangingPunct="1">
              <a:lnSpc>
                <a:spcPct val="100000"/>
              </a:lnSpc>
              <a:spcBef>
                <a:spcPct val="0"/>
              </a:spcBef>
              <a:buNone/>
              <a:defRPr lang="en-US" sz="2600" b="1" kern="1200" dirty="0">
                <a:solidFill>
                  <a:schemeClr val="bg1"/>
                </a:solidFill>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userDrawn="1">
            <p:ph type="body" sz="quarter" idx="10" hasCustomPrompt="1"/>
            <p:custDataLst>
              <p:tags r:id="rId4"/>
            </p:custDataLst>
          </p:nvPr>
        </p:nvSpPr>
        <p:spPr>
          <a:xfrm>
            <a:off x="5035551" y="3609020"/>
            <a:ext cx="4202112" cy="598528"/>
          </a:xfrm>
          <a:effectLst>
            <a:outerShdw blurRad="25400" dist="25400" dir="2700000" algn="tl" rotWithShape="0">
              <a:prstClr val="black">
                <a:alpha val="80000"/>
              </a:prstClr>
            </a:outerShdw>
          </a:effectLst>
        </p:spPr>
        <p:txBody>
          <a:bodyPr vert="horz" lIns="0" tIns="0" rIns="0" bIns="0" rtlCol="0" anchor="t" anchorCtr="0">
            <a:noAutofit/>
          </a:bodyPr>
          <a:lstStyle>
            <a:lvl1pPr marL="0" indent="0" algn="r" defTabSz="995690" rtl="0" eaLnBrk="1" latinLnBrk="0" hangingPunct="1">
              <a:lnSpc>
                <a:spcPct val="100000"/>
              </a:lnSpc>
              <a:spcBef>
                <a:spcPts val="0"/>
              </a:spcBef>
              <a:buFontTx/>
              <a:buNone/>
              <a:defRPr lang="fr-FR" sz="2000" b="0" kern="1200" baseline="0" smtClean="0">
                <a:solidFill>
                  <a:schemeClr val="bg1"/>
                </a:solidFill>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63" name="Rectangle 7"/>
          <p:cNvSpPr/>
          <p:nvPr userDrawn="1">
            <p:custDataLst>
              <p:tags r:id="rId5"/>
            </p:custDataLst>
          </p:nvPr>
        </p:nvSpPr>
        <p:spPr bwMode="auto">
          <a:xfrm>
            <a:off x="8840" y="-13639"/>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359261 w 10562585"/>
              <a:gd name="connsiteY0" fmla="*/ 366769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359261 w 10562585"/>
              <a:gd name="connsiteY7" fmla="*/ 366769 h 2958168"/>
              <a:gd name="connsiteX0" fmla="*/ 2187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0 h 2958168"/>
              <a:gd name="connsiteX0" fmla="*/ 2187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7"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lnTo>
                  <a:pt x="2187" y="0"/>
                </a:lnTo>
                <a:close/>
              </a:path>
            </a:pathLst>
          </a:custGeom>
          <a:solidFill>
            <a:schemeClr val="bg1"/>
          </a:solidFill>
          <a:ln w="12700" cmpd="sng" algn="ctr">
            <a:noFill/>
            <a:miter lim="800000"/>
            <a:headEnd/>
            <a:tailEnd/>
          </a:ln>
          <a:effectLst>
            <a:outerShdw blurRad="50800" dist="25400" dir="5400000" algn="t" rotWithShape="0">
              <a:srgbClr val="000000">
                <a:alpha val="40000"/>
              </a:srgb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pic>
        <p:nvPicPr>
          <p:cNvPr id="68"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677343" y="854960"/>
            <a:ext cx="2560320" cy="203893"/>
          </a:xfrm>
          <a:prstGeom prst="rect">
            <a:avLst/>
          </a:prstGeom>
          <a:noFill/>
        </p:spPr>
      </p:pic>
      <p:grpSp>
        <p:nvGrpSpPr>
          <p:cNvPr id="113" name="Groupe 61"/>
          <p:cNvGrpSpPr/>
          <p:nvPr userDrawn="1"/>
        </p:nvGrpSpPr>
        <p:grpSpPr>
          <a:xfrm>
            <a:off x="0" y="5819576"/>
            <a:ext cx="9906020" cy="641988"/>
            <a:chOff x="231576" y="5631148"/>
            <a:chExt cx="9906020" cy="641988"/>
          </a:xfrm>
          <a:effectLst>
            <a:outerShdw blurRad="12700" dist="12700" dir="2700000" algn="tl" rotWithShape="0">
              <a:prstClr val="black">
                <a:alpha val="80000"/>
              </a:prstClr>
            </a:outerShdw>
          </a:effectLst>
        </p:grpSpPr>
        <p:sp>
          <p:nvSpPr>
            <p:cNvPr id="114" name="Line 80"/>
            <p:cNvSpPr>
              <a:spLocks noChangeShapeType="1"/>
            </p:cNvSpPr>
            <p:nvPr userDrawn="1"/>
          </p:nvSpPr>
          <p:spPr bwMode="auto">
            <a:xfrm>
              <a:off x="4242057" y="6183197"/>
              <a:ext cx="1027" cy="1049"/>
            </a:xfrm>
            <a:prstGeom prst="line">
              <a:avLst/>
            </a:pr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69"/>
            <p:cNvSpPr>
              <a:spLocks/>
            </p:cNvSpPr>
            <p:nvPr userDrawn="1"/>
          </p:nvSpPr>
          <p:spPr bwMode="auto">
            <a:xfrm>
              <a:off x="7984671" y="6155916"/>
              <a:ext cx="212909" cy="24117"/>
            </a:xfrm>
            <a:custGeom>
              <a:avLst/>
              <a:gdLst>
                <a:gd name="connsiteX0" fmla="*/ 8791 w 8791"/>
                <a:gd name="connsiteY0" fmla="*/ 0 h 10000"/>
                <a:gd name="connsiteX1" fmla="*/ 8791 w 8791"/>
                <a:gd name="connsiteY1" fmla="*/ 7895 h 10000"/>
                <a:gd name="connsiteX2" fmla="*/ 8639 w 8791"/>
                <a:gd name="connsiteY2" fmla="*/ 7895 h 10000"/>
                <a:gd name="connsiteX3" fmla="*/ 8639 w 8791"/>
                <a:gd name="connsiteY3" fmla="*/ 7368 h 10000"/>
                <a:gd name="connsiteX4" fmla="*/ 8561 w 8791"/>
                <a:gd name="connsiteY4" fmla="*/ 7368 h 10000"/>
                <a:gd name="connsiteX5" fmla="*/ 8541 w 8791"/>
                <a:gd name="connsiteY5" fmla="*/ 10000 h 10000"/>
                <a:gd name="connsiteX6" fmla="*/ 8496 w 8791"/>
                <a:gd name="connsiteY6" fmla="*/ 10000 h 10000"/>
                <a:gd name="connsiteX7" fmla="*/ 8475 w 8791"/>
                <a:gd name="connsiteY7" fmla="*/ 7368 h 10000"/>
                <a:gd name="connsiteX8" fmla="*/ 8475 w 8791"/>
                <a:gd name="connsiteY8" fmla="*/ 1579 h 10000"/>
                <a:gd name="connsiteX9" fmla="*/ 8217 w 8791"/>
                <a:gd name="connsiteY9" fmla="*/ 1579 h 10000"/>
                <a:gd name="connsiteX10" fmla="*/ 8217 w 8791"/>
                <a:gd name="connsiteY10" fmla="*/ 7368 h 10000"/>
                <a:gd name="connsiteX11" fmla="*/ 8196 w 8791"/>
                <a:gd name="connsiteY11" fmla="*/ 10000 h 10000"/>
                <a:gd name="connsiteX12" fmla="*/ 8151 w 8791"/>
                <a:gd name="connsiteY12" fmla="*/ 10000 h 10000"/>
                <a:gd name="connsiteX13" fmla="*/ 8131 w 8791"/>
                <a:gd name="connsiteY13" fmla="*/ 7368 h 10000"/>
                <a:gd name="connsiteX14" fmla="*/ 8090 w 8791"/>
                <a:gd name="connsiteY14" fmla="*/ 7368 h 10000"/>
                <a:gd name="connsiteX15" fmla="*/ 8090 w 8791"/>
                <a:gd name="connsiteY15" fmla="*/ 7895 h 10000"/>
                <a:gd name="connsiteX16" fmla="*/ 0 w 8791"/>
                <a:gd name="connsiteY16" fmla="*/ 8020 h 10000"/>
                <a:gd name="connsiteX0" fmla="*/ 18463 w 18463"/>
                <a:gd name="connsiteY0" fmla="*/ 0 h 10000"/>
                <a:gd name="connsiteX1" fmla="*/ 18463 w 18463"/>
                <a:gd name="connsiteY1" fmla="*/ 7895 h 10000"/>
                <a:gd name="connsiteX2" fmla="*/ 18290 w 18463"/>
                <a:gd name="connsiteY2" fmla="*/ 7895 h 10000"/>
                <a:gd name="connsiteX3" fmla="*/ 18290 w 18463"/>
                <a:gd name="connsiteY3" fmla="*/ 7368 h 10000"/>
                <a:gd name="connsiteX4" fmla="*/ 18201 w 18463"/>
                <a:gd name="connsiteY4" fmla="*/ 7368 h 10000"/>
                <a:gd name="connsiteX5" fmla="*/ 18179 w 18463"/>
                <a:gd name="connsiteY5" fmla="*/ 10000 h 10000"/>
                <a:gd name="connsiteX6" fmla="*/ 18127 w 18463"/>
                <a:gd name="connsiteY6" fmla="*/ 10000 h 10000"/>
                <a:gd name="connsiteX7" fmla="*/ 18104 w 18463"/>
                <a:gd name="connsiteY7" fmla="*/ 7368 h 10000"/>
                <a:gd name="connsiteX8" fmla="*/ 18104 w 18463"/>
                <a:gd name="connsiteY8" fmla="*/ 1579 h 10000"/>
                <a:gd name="connsiteX9" fmla="*/ 17810 w 18463"/>
                <a:gd name="connsiteY9" fmla="*/ 1579 h 10000"/>
                <a:gd name="connsiteX10" fmla="*/ 17810 w 18463"/>
                <a:gd name="connsiteY10" fmla="*/ 7368 h 10000"/>
                <a:gd name="connsiteX11" fmla="*/ 17786 w 18463"/>
                <a:gd name="connsiteY11" fmla="*/ 10000 h 10000"/>
                <a:gd name="connsiteX12" fmla="*/ 17735 w 18463"/>
                <a:gd name="connsiteY12" fmla="*/ 10000 h 10000"/>
                <a:gd name="connsiteX13" fmla="*/ 17712 w 18463"/>
                <a:gd name="connsiteY13" fmla="*/ 7368 h 10000"/>
                <a:gd name="connsiteX14" fmla="*/ 17666 w 18463"/>
                <a:gd name="connsiteY14" fmla="*/ 7368 h 10000"/>
                <a:gd name="connsiteX15" fmla="*/ 17666 w 18463"/>
                <a:gd name="connsiteY15" fmla="*/ 7895 h 10000"/>
                <a:gd name="connsiteX16" fmla="*/ 0 w 18463"/>
                <a:gd name="connsiteY16" fmla="*/ 8020 h 10000"/>
                <a:gd name="connsiteX0" fmla="*/ 33591 w 33591"/>
                <a:gd name="connsiteY0" fmla="*/ 1816 h 11816"/>
                <a:gd name="connsiteX1" fmla="*/ 33591 w 33591"/>
                <a:gd name="connsiteY1" fmla="*/ 9711 h 11816"/>
                <a:gd name="connsiteX2" fmla="*/ 33418 w 33591"/>
                <a:gd name="connsiteY2" fmla="*/ 9711 h 11816"/>
                <a:gd name="connsiteX3" fmla="*/ 33418 w 33591"/>
                <a:gd name="connsiteY3" fmla="*/ 9184 h 11816"/>
                <a:gd name="connsiteX4" fmla="*/ 33329 w 33591"/>
                <a:gd name="connsiteY4" fmla="*/ 9184 h 11816"/>
                <a:gd name="connsiteX5" fmla="*/ 33307 w 33591"/>
                <a:gd name="connsiteY5" fmla="*/ 11816 h 11816"/>
                <a:gd name="connsiteX6" fmla="*/ 33255 w 33591"/>
                <a:gd name="connsiteY6" fmla="*/ 11816 h 11816"/>
                <a:gd name="connsiteX7" fmla="*/ 33232 w 33591"/>
                <a:gd name="connsiteY7" fmla="*/ 9184 h 11816"/>
                <a:gd name="connsiteX8" fmla="*/ 33232 w 33591"/>
                <a:gd name="connsiteY8" fmla="*/ 3395 h 11816"/>
                <a:gd name="connsiteX9" fmla="*/ 32938 w 33591"/>
                <a:gd name="connsiteY9" fmla="*/ 3395 h 11816"/>
                <a:gd name="connsiteX10" fmla="*/ 32938 w 33591"/>
                <a:gd name="connsiteY10" fmla="*/ 9184 h 11816"/>
                <a:gd name="connsiteX11" fmla="*/ 32914 w 33591"/>
                <a:gd name="connsiteY11" fmla="*/ 11816 h 11816"/>
                <a:gd name="connsiteX12" fmla="*/ 32863 w 33591"/>
                <a:gd name="connsiteY12" fmla="*/ 11816 h 11816"/>
                <a:gd name="connsiteX13" fmla="*/ 32840 w 33591"/>
                <a:gd name="connsiteY13" fmla="*/ 9184 h 11816"/>
                <a:gd name="connsiteX14" fmla="*/ 32794 w 33591"/>
                <a:gd name="connsiteY14" fmla="*/ 9184 h 11816"/>
                <a:gd name="connsiteX15" fmla="*/ 32794 w 33591"/>
                <a:gd name="connsiteY15" fmla="*/ 9711 h 11816"/>
                <a:gd name="connsiteX16" fmla="*/ 0 w 33591"/>
                <a:gd name="connsiteY16" fmla="*/ 0 h 11816"/>
                <a:gd name="connsiteX0" fmla="*/ 33591 w 33591"/>
                <a:gd name="connsiteY0" fmla="*/ 0 h 10000"/>
                <a:gd name="connsiteX1" fmla="*/ 33591 w 33591"/>
                <a:gd name="connsiteY1" fmla="*/ 7895 h 10000"/>
                <a:gd name="connsiteX2" fmla="*/ 33418 w 33591"/>
                <a:gd name="connsiteY2" fmla="*/ 7895 h 10000"/>
                <a:gd name="connsiteX3" fmla="*/ 33418 w 33591"/>
                <a:gd name="connsiteY3" fmla="*/ 7368 h 10000"/>
                <a:gd name="connsiteX4" fmla="*/ 33329 w 33591"/>
                <a:gd name="connsiteY4" fmla="*/ 7368 h 10000"/>
                <a:gd name="connsiteX5" fmla="*/ 33307 w 33591"/>
                <a:gd name="connsiteY5" fmla="*/ 10000 h 10000"/>
                <a:gd name="connsiteX6" fmla="*/ 33255 w 33591"/>
                <a:gd name="connsiteY6" fmla="*/ 10000 h 10000"/>
                <a:gd name="connsiteX7" fmla="*/ 33232 w 33591"/>
                <a:gd name="connsiteY7" fmla="*/ 7368 h 10000"/>
                <a:gd name="connsiteX8" fmla="*/ 33232 w 33591"/>
                <a:gd name="connsiteY8" fmla="*/ 1579 h 10000"/>
                <a:gd name="connsiteX9" fmla="*/ 32938 w 33591"/>
                <a:gd name="connsiteY9" fmla="*/ 1579 h 10000"/>
                <a:gd name="connsiteX10" fmla="*/ 32938 w 33591"/>
                <a:gd name="connsiteY10" fmla="*/ 7368 h 10000"/>
                <a:gd name="connsiteX11" fmla="*/ 32914 w 33591"/>
                <a:gd name="connsiteY11" fmla="*/ 10000 h 10000"/>
                <a:gd name="connsiteX12" fmla="*/ 32863 w 33591"/>
                <a:gd name="connsiteY12" fmla="*/ 10000 h 10000"/>
                <a:gd name="connsiteX13" fmla="*/ 32840 w 33591"/>
                <a:gd name="connsiteY13" fmla="*/ 7368 h 10000"/>
                <a:gd name="connsiteX14" fmla="*/ 32794 w 33591"/>
                <a:gd name="connsiteY14" fmla="*/ 7368 h 10000"/>
                <a:gd name="connsiteX15" fmla="*/ 32794 w 33591"/>
                <a:gd name="connsiteY15" fmla="*/ 7895 h 10000"/>
                <a:gd name="connsiteX16" fmla="*/ 0 w 33591"/>
                <a:gd name="connsiteY16" fmla="*/ 2539 h 10000"/>
                <a:gd name="connsiteX0" fmla="*/ 33591 w 33591"/>
                <a:gd name="connsiteY0" fmla="*/ 0 h 10000"/>
                <a:gd name="connsiteX1" fmla="*/ 33591 w 33591"/>
                <a:gd name="connsiteY1" fmla="*/ 7895 h 10000"/>
                <a:gd name="connsiteX2" fmla="*/ 33418 w 33591"/>
                <a:gd name="connsiteY2" fmla="*/ 7895 h 10000"/>
                <a:gd name="connsiteX3" fmla="*/ 33418 w 33591"/>
                <a:gd name="connsiteY3" fmla="*/ 7368 h 10000"/>
                <a:gd name="connsiteX4" fmla="*/ 33329 w 33591"/>
                <a:gd name="connsiteY4" fmla="*/ 7368 h 10000"/>
                <a:gd name="connsiteX5" fmla="*/ 33307 w 33591"/>
                <a:gd name="connsiteY5" fmla="*/ 10000 h 10000"/>
                <a:gd name="connsiteX6" fmla="*/ 33255 w 33591"/>
                <a:gd name="connsiteY6" fmla="*/ 10000 h 10000"/>
                <a:gd name="connsiteX7" fmla="*/ 33232 w 33591"/>
                <a:gd name="connsiteY7" fmla="*/ 7368 h 10000"/>
                <a:gd name="connsiteX8" fmla="*/ 33232 w 33591"/>
                <a:gd name="connsiteY8" fmla="*/ 1579 h 10000"/>
                <a:gd name="connsiteX9" fmla="*/ 32938 w 33591"/>
                <a:gd name="connsiteY9" fmla="*/ 1579 h 10000"/>
                <a:gd name="connsiteX10" fmla="*/ 32938 w 33591"/>
                <a:gd name="connsiteY10" fmla="*/ 7368 h 10000"/>
                <a:gd name="connsiteX11" fmla="*/ 32914 w 33591"/>
                <a:gd name="connsiteY11" fmla="*/ 10000 h 10000"/>
                <a:gd name="connsiteX12" fmla="*/ 32863 w 33591"/>
                <a:gd name="connsiteY12" fmla="*/ 10000 h 10000"/>
                <a:gd name="connsiteX13" fmla="*/ 32840 w 33591"/>
                <a:gd name="connsiteY13" fmla="*/ 7368 h 10000"/>
                <a:gd name="connsiteX14" fmla="*/ 32794 w 33591"/>
                <a:gd name="connsiteY14" fmla="*/ 7368 h 10000"/>
                <a:gd name="connsiteX15" fmla="*/ 32794 w 33591"/>
                <a:gd name="connsiteY15" fmla="*/ 7895 h 10000"/>
                <a:gd name="connsiteX16" fmla="*/ 0 w 33591"/>
                <a:gd name="connsiteY16" fmla="*/ 6894 h 10000"/>
                <a:gd name="connsiteX0" fmla="*/ 33591 w 33591"/>
                <a:gd name="connsiteY0" fmla="*/ 0 h 11249"/>
                <a:gd name="connsiteX1" fmla="*/ 33591 w 33591"/>
                <a:gd name="connsiteY1" fmla="*/ 7895 h 11249"/>
                <a:gd name="connsiteX2" fmla="*/ 33418 w 33591"/>
                <a:gd name="connsiteY2" fmla="*/ 7895 h 11249"/>
                <a:gd name="connsiteX3" fmla="*/ 33418 w 33591"/>
                <a:gd name="connsiteY3" fmla="*/ 7368 h 11249"/>
                <a:gd name="connsiteX4" fmla="*/ 33329 w 33591"/>
                <a:gd name="connsiteY4" fmla="*/ 7368 h 11249"/>
                <a:gd name="connsiteX5" fmla="*/ 33307 w 33591"/>
                <a:gd name="connsiteY5" fmla="*/ 10000 h 11249"/>
                <a:gd name="connsiteX6" fmla="*/ 33255 w 33591"/>
                <a:gd name="connsiteY6" fmla="*/ 10000 h 11249"/>
                <a:gd name="connsiteX7" fmla="*/ 33232 w 33591"/>
                <a:gd name="connsiteY7" fmla="*/ 7368 h 11249"/>
                <a:gd name="connsiteX8" fmla="*/ 33232 w 33591"/>
                <a:gd name="connsiteY8" fmla="*/ 1579 h 11249"/>
                <a:gd name="connsiteX9" fmla="*/ 32938 w 33591"/>
                <a:gd name="connsiteY9" fmla="*/ 1579 h 11249"/>
                <a:gd name="connsiteX10" fmla="*/ 32938 w 33591"/>
                <a:gd name="connsiteY10" fmla="*/ 7368 h 11249"/>
                <a:gd name="connsiteX11" fmla="*/ 32914 w 33591"/>
                <a:gd name="connsiteY11" fmla="*/ 10000 h 11249"/>
                <a:gd name="connsiteX12" fmla="*/ 32863 w 33591"/>
                <a:gd name="connsiteY12" fmla="*/ 10000 h 11249"/>
                <a:gd name="connsiteX13" fmla="*/ 32840 w 33591"/>
                <a:gd name="connsiteY13" fmla="*/ 7368 h 11249"/>
                <a:gd name="connsiteX14" fmla="*/ 32794 w 33591"/>
                <a:gd name="connsiteY14" fmla="*/ 7368 h 11249"/>
                <a:gd name="connsiteX15" fmla="*/ 32794 w 33591"/>
                <a:gd name="connsiteY15" fmla="*/ 7895 h 11249"/>
                <a:gd name="connsiteX16" fmla="*/ 0 w 33591"/>
                <a:gd name="connsiteY16" fmla="*/ 11249 h 11249"/>
                <a:gd name="connsiteX0" fmla="*/ 797 w 797"/>
                <a:gd name="connsiteY0" fmla="*/ 0 h 10000"/>
                <a:gd name="connsiteX1" fmla="*/ 797 w 797"/>
                <a:gd name="connsiteY1" fmla="*/ 7895 h 10000"/>
                <a:gd name="connsiteX2" fmla="*/ 624 w 797"/>
                <a:gd name="connsiteY2" fmla="*/ 7895 h 10000"/>
                <a:gd name="connsiteX3" fmla="*/ 624 w 797"/>
                <a:gd name="connsiteY3" fmla="*/ 7368 h 10000"/>
                <a:gd name="connsiteX4" fmla="*/ 535 w 797"/>
                <a:gd name="connsiteY4" fmla="*/ 7368 h 10000"/>
                <a:gd name="connsiteX5" fmla="*/ 513 w 797"/>
                <a:gd name="connsiteY5" fmla="*/ 10000 h 10000"/>
                <a:gd name="connsiteX6" fmla="*/ 461 w 797"/>
                <a:gd name="connsiteY6" fmla="*/ 10000 h 10000"/>
                <a:gd name="connsiteX7" fmla="*/ 438 w 797"/>
                <a:gd name="connsiteY7" fmla="*/ 7368 h 10000"/>
                <a:gd name="connsiteX8" fmla="*/ 438 w 797"/>
                <a:gd name="connsiteY8" fmla="*/ 1579 h 10000"/>
                <a:gd name="connsiteX9" fmla="*/ 144 w 797"/>
                <a:gd name="connsiteY9" fmla="*/ 1579 h 10000"/>
                <a:gd name="connsiteX10" fmla="*/ 144 w 797"/>
                <a:gd name="connsiteY10" fmla="*/ 7368 h 10000"/>
                <a:gd name="connsiteX11" fmla="*/ 120 w 797"/>
                <a:gd name="connsiteY11" fmla="*/ 10000 h 10000"/>
                <a:gd name="connsiteX12" fmla="*/ 69 w 797"/>
                <a:gd name="connsiteY12" fmla="*/ 10000 h 10000"/>
                <a:gd name="connsiteX13" fmla="*/ 46 w 797"/>
                <a:gd name="connsiteY13" fmla="*/ 7368 h 10000"/>
                <a:gd name="connsiteX14" fmla="*/ 0 w 797"/>
                <a:gd name="connsiteY14" fmla="*/ 7368 h 10000"/>
                <a:gd name="connsiteX15" fmla="*/ 0 w 797"/>
                <a:gd name="connsiteY15" fmla="*/ 789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7" h="10000">
                  <a:moveTo>
                    <a:pt x="797" y="0"/>
                  </a:moveTo>
                  <a:lnTo>
                    <a:pt x="797" y="7895"/>
                  </a:lnTo>
                  <a:lnTo>
                    <a:pt x="624" y="7895"/>
                  </a:lnTo>
                  <a:lnTo>
                    <a:pt x="624" y="7368"/>
                  </a:lnTo>
                  <a:lnTo>
                    <a:pt x="535" y="7368"/>
                  </a:lnTo>
                  <a:cubicBezTo>
                    <a:pt x="535" y="8947"/>
                    <a:pt x="526" y="10000"/>
                    <a:pt x="513" y="10000"/>
                  </a:cubicBezTo>
                  <a:lnTo>
                    <a:pt x="461" y="10000"/>
                  </a:lnTo>
                  <a:cubicBezTo>
                    <a:pt x="447" y="10000"/>
                    <a:pt x="438" y="8947"/>
                    <a:pt x="438" y="7368"/>
                  </a:cubicBezTo>
                  <a:lnTo>
                    <a:pt x="438" y="1579"/>
                  </a:lnTo>
                  <a:lnTo>
                    <a:pt x="144" y="1579"/>
                  </a:lnTo>
                  <a:lnTo>
                    <a:pt x="144" y="7368"/>
                  </a:lnTo>
                  <a:cubicBezTo>
                    <a:pt x="144" y="8947"/>
                    <a:pt x="135" y="10000"/>
                    <a:pt x="120" y="10000"/>
                  </a:cubicBezTo>
                  <a:lnTo>
                    <a:pt x="69" y="10000"/>
                  </a:lnTo>
                  <a:cubicBezTo>
                    <a:pt x="55" y="10000"/>
                    <a:pt x="46" y="8421"/>
                    <a:pt x="46" y="7368"/>
                  </a:cubicBezTo>
                  <a:lnTo>
                    <a:pt x="0" y="7368"/>
                  </a:lnTo>
                  <a:lnTo>
                    <a:pt x="0" y="7895"/>
                  </a:ln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87"/>
            <p:cNvSpPr>
              <a:spLocks/>
            </p:cNvSpPr>
            <p:nvPr userDrawn="1"/>
          </p:nvSpPr>
          <p:spPr bwMode="auto">
            <a:xfrm>
              <a:off x="9327299" y="6108584"/>
              <a:ext cx="810297" cy="73428"/>
            </a:xfrm>
            <a:custGeom>
              <a:avLst/>
              <a:gdLst>
                <a:gd name="connsiteX0" fmla="*/ 24 w 14002"/>
                <a:gd name="connsiteY0" fmla="*/ 0 h 11109"/>
                <a:gd name="connsiteX1" fmla="*/ 6 w 14002"/>
                <a:gd name="connsiteY1" fmla="*/ 9400 h 11109"/>
                <a:gd name="connsiteX2" fmla="*/ 30 w 14002"/>
                <a:gd name="connsiteY2" fmla="*/ 10000 h 11109"/>
                <a:gd name="connsiteX3" fmla="*/ 248 w 14002"/>
                <a:gd name="connsiteY3" fmla="*/ 10000 h 11109"/>
                <a:gd name="connsiteX4" fmla="*/ 323 w 14002"/>
                <a:gd name="connsiteY4" fmla="*/ 10000 h 11109"/>
                <a:gd name="connsiteX5" fmla="*/ 14002 w 14002"/>
                <a:gd name="connsiteY5" fmla="*/ 11109 h 11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2" h="11109">
                  <a:moveTo>
                    <a:pt x="24" y="0"/>
                  </a:moveTo>
                  <a:lnTo>
                    <a:pt x="6" y="9400"/>
                  </a:lnTo>
                  <a:cubicBezTo>
                    <a:pt x="6" y="9400"/>
                    <a:pt x="0" y="10000"/>
                    <a:pt x="30" y="10000"/>
                  </a:cubicBezTo>
                  <a:lnTo>
                    <a:pt x="248" y="10000"/>
                  </a:lnTo>
                  <a:lnTo>
                    <a:pt x="323" y="10000"/>
                  </a:lnTo>
                  <a:lnTo>
                    <a:pt x="14002" y="11109"/>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17" name="Groupe 162"/>
            <p:cNvGrpSpPr/>
            <p:nvPr userDrawn="1"/>
          </p:nvGrpSpPr>
          <p:grpSpPr>
            <a:xfrm>
              <a:off x="6991350" y="5631148"/>
              <a:ext cx="2498668" cy="641988"/>
              <a:chOff x="3714750" y="5859596"/>
              <a:chExt cx="2290763" cy="576263"/>
            </a:xfrm>
          </p:grpSpPr>
          <p:sp>
            <p:nvSpPr>
              <p:cNvPr id="119" name="Freeform 86"/>
              <p:cNvSpPr>
                <a:spLocks/>
              </p:cNvSpPr>
              <p:nvPr userDrawn="1"/>
            </p:nvSpPr>
            <p:spPr bwMode="auto">
              <a:xfrm>
                <a:off x="5872163" y="6098245"/>
                <a:ext cx="133350" cy="104775"/>
              </a:xfrm>
              <a:custGeom>
                <a:avLst/>
                <a:gdLst/>
                <a:ahLst/>
                <a:cxnLst>
                  <a:cxn ang="0">
                    <a:pos x="0" y="0"/>
                  </a:cxn>
                  <a:cxn ang="0">
                    <a:pos x="44" y="14"/>
                  </a:cxn>
                  <a:cxn ang="0">
                    <a:pos x="67" y="34"/>
                  </a:cxn>
                  <a:cxn ang="0">
                    <a:pos x="66" y="54"/>
                  </a:cxn>
                  <a:cxn ang="0">
                    <a:pos x="59" y="45"/>
                  </a:cxn>
                  <a:cxn ang="0">
                    <a:pos x="35" y="35"/>
                  </a:cxn>
                  <a:cxn ang="0">
                    <a:pos x="6" y="12"/>
                  </a:cxn>
                </a:cxnLst>
                <a:rect l="0" t="0" r="r" b="b"/>
                <a:pathLst>
                  <a:path w="69" h="54">
                    <a:moveTo>
                      <a:pt x="0" y="0"/>
                    </a:moveTo>
                    <a:cubicBezTo>
                      <a:pt x="0" y="0"/>
                      <a:pt x="17" y="10"/>
                      <a:pt x="44" y="14"/>
                    </a:cubicBezTo>
                    <a:cubicBezTo>
                      <a:pt x="57" y="15"/>
                      <a:pt x="65" y="25"/>
                      <a:pt x="67" y="34"/>
                    </a:cubicBezTo>
                    <a:cubicBezTo>
                      <a:pt x="69" y="43"/>
                      <a:pt x="65" y="54"/>
                      <a:pt x="66" y="54"/>
                    </a:cubicBezTo>
                    <a:cubicBezTo>
                      <a:pt x="66" y="54"/>
                      <a:pt x="64" y="48"/>
                      <a:pt x="59" y="45"/>
                    </a:cubicBezTo>
                    <a:cubicBezTo>
                      <a:pt x="54" y="40"/>
                      <a:pt x="44" y="38"/>
                      <a:pt x="35" y="35"/>
                    </a:cubicBezTo>
                    <a:cubicBezTo>
                      <a:pt x="7" y="30"/>
                      <a:pt x="6" y="12"/>
                      <a:pt x="6" y="12"/>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51"/>
              <p:cNvSpPr>
                <a:spLocks/>
              </p:cNvSpPr>
              <p:nvPr userDrawn="1"/>
            </p:nvSpPr>
            <p:spPr bwMode="auto">
              <a:xfrm>
                <a:off x="4686300" y="6099309"/>
                <a:ext cx="117475" cy="201613"/>
              </a:xfrm>
              <a:custGeom>
                <a:avLst/>
                <a:gdLst/>
                <a:ahLst/>
                <a:cxnLst>
                  <a:cxn ang="0">
                    <a:pos x="64" y="0"/>
                  </a:cxn>
                  <a:cxn ang="0">
                    <a:pos x="11" y="35"/>
                  </a:cxn>
                  <a:cxn ang="0">
                    <a:pos x="74" y="81"/>
                  </a:cxn>
                  <a:cxn ang="0">
                    <a:pos x="0" y="127"/>
                  </a:cxn>
                </a:cxnLst>
                <a:rect l="0" t="0" r="r" b="b"/>
                <a:pathLst>
                  <a:path w="74" h="127">
                    <a:moveTo>
                      <a:pt x="64" y="0"/>
                    </a:moveTo>
                    <a:lnTo>
                      <a:pt x="11" y="35"/>
                    </a:lnTo>
                    <a:lnTo>
                      <a:pt x="74" y="81"/>
                    </a:lnTo>
                    <a:lnTo>
                      <a:pt x="0" y="127"/>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52"/>
              <p:cNvSpPr>
                <a:spLocks/>
              </p:cNvSpPr>
              <p:nvPr userDrawn="1"/>
            </p:nvSpPr>
            <p:spPr bwMode="auto">
              <a:xfrm>
                <a:off x="4614863" y="6180271"/>
                <a:ext cx="77788" cy="41275"/>
              </a:xfrm>
              <a:custGeom>
                <a:avLst/>
                <a:gdLst/>
                <a:ahLst/>
                <a:cxnLst>
                  <a:cxn ang="0">
                    <a:pos x="49" y="0"/>
                  </a:cxn>
                  <a:cxn ang="0">
                    <a:pos x="0" y="26"/>
                  </a:cxn>
                  <a:cxn ang="0">
                    <a:pos x="45" y="26"/>
                  </a:cxn>
                </a:cxnLst>
                <a:rect l="0" t="0" r="r" b="b"/>
                <a:pathLst>
                  <a:path w="49" h="26">
                    <a:moveTo>
                      <a:pt x="49" y="0"/>
                    </a:moveTo>
                    <a:lnTo>
                      <a:pt x="0" y="26"/>
                    </a:lnTo>
                    <a:lnTo>
                      <a:pt x="45" y="26"/>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53"/>
              <p:cNvSpPr>
                <a:spLocks/>
              </p:cNvSpPr>
              <p:nvPr userDrawn="1"/>
            </p:nvSpPr>
            <p:spPr bwMode="auto">
              <a:xfrm>
                <a:off x="4608513" y="6119946"/>
                <a:ext cx="87313" cy="30163"/>
              </a:xfrm>
              <a:custGeom>
                <a:avLst/>
                <a:gdLst/>
                <a:ahLst/>
                <a:cxnLst>
                  <a:cxn ang="0">
                    <a:pos x="55" y="0"/>
                  </a:cxn>
                  <a:cxn ang="0">
                    <a:pos x="0" y="19"/>
                  </a:cxn>
                  <a:cxn ang="0">
                    <a:pos x="54" y="19"/>
                  </a:cxn>
                </a:cxnLst>
                <a:rect l="0" t="0" r="r" b="b"/>
                <a:pathLst>
                  <a:path w="55" h="19">
                    <a:moveTo>
                      <a:pt x="55" y="0"/>
                    </a:moveTo>
                    <a:lnTo>
                      <a:pt x="0" y="19"/>
                    </a:lnTo>
                    <a:lnTo>
                      <a:pt x="54" y="19"/>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54"/>
              <p:cNvSpPr>
                <a:spLocks/>
              </p:cNvSpPr>
              <p:nvPr userDrawn="1"/>
            </p:nvSpPr>
            <p:spPr bwMode="auto">
              <a:xfrm>
                <a:off x="4306888" y="5954846"/>
                <a:ext cx="412750" cy="382588"/>
              </a:xfrm>
              <a:custGeom>
                <a:avLst/>
                <a:gdLst/>
                <a:ahLst/>
                <a:cxnLst>
                  <a:cxn ang="0">
                    <a:pos x="0" y="144"/>
                  </a:cxn>
                  <a:cxn ang="0">
                    <a:pos x="5" y="110"/>
                  </a:cxn>
                  <a:cxn ang="0">
                    <a:pos x="49" y="110"/>
                  </a:cxn>
                  <a:cxn ang="0">
                    <a:pos x="54" y="144"/>
                  </a:cxn>
                  <a:cxn ang="0">
                    <a:pos x="66" y="181"/>
                  </a:cxn>
                  <a:cxn ang="0">
                    <a:pos x="66" y="196"/>
                  </a:cxn>
                  <a:cxn ang="0">
                    <a:pos x="105" y="196"/>
                  </a:cxn>
                  <a:cxn ang="0">
                    <a:pos x="124" y="196"/>
                  </a:cxn>
                  <a:cxn ang="0">
                    <a:pos x="191" y="196"/>
                  </a:cxn>
                  <a:cxn ang="0">
                    <a:pos x="192" y="187"/>
                  </a:cxn>
                  <a:cxn ang="0">
                    <a:pos x="214" y="0"/>
                  </a:cxn>
                </a:cxnLst>
                <a:rect l="0" t="0" r="r" b="b"/>
                <a:pathLst>
                  <a:path w="214" h="196">
                    <a:moveTo>
                      <a:pt x="0" y="144"/>
                    </a:moveTo>
                    <a:cubicBezTo>
                      <a:pt x="4" y="132"/>
                      <a:pt x="5" y="110"/>
                      <a:pt x="5" y="110"/>
                    </a:cubicBezTo>
                    <a:cubicBezTo>
                      <a:pt x="49" y="110"/>
                      <a:pt x="49" y="110"/>
                      <a:pt x="49" y="110"/>
                    </a:cubicBezTo>
                    <a:cubicBezTo>
                      <a:pt x="49" y="110"/>
                      <a:pt x="51" y="132"/>
                      <a:pt x="54" y="144"/>
                    </a:cubicBezTo>
                    <a:cubicBezTo>
                      <a:pt x="59" y="165"/>
                      <a:pt x="66" y="181"/>
                      <a:pt x="66" y="181"/>
                    </a:cubicBezTo>
                    <a:cubicBezTo>
                      <a:pt x="66" y="196"/>
                      <a:pt x="66" y="196"/>
                      <a:pt x="66" y="196"/>
                    </a:cubicBezTo>
                    <a:cubicBezTo>
                      <a:pt x="105" y="196"/>
                      <a:pt x="105" y="196"/>
                      <a:pt x="105" y="196"/>
                    </a:cubicBezTo>
                    <a:cubicBezTo>
                      <a:pt x="124" y="196"/>
                      <a:pt x="124" y="196"/>
                      <a:pt x="124" y="196"/>
                    </a:cubicBezTo>
                    <a:cubicBezTo>
                      <a:pt x="191" y="196"/>
                      <a:pt x="191" y="196"/>
                      <a:pt x="191" y="196"/>
                    </a:cubicBezTo>
                    <a:cubicBezTo>
                      <a:pt x="192" y="187"/>
                      <a:pt x="192" y="187"/>
                      <a:pt x="192" y="187"/>
                    </a:cubicBezTo>
                    <a:cubicBezTo>
                      <a:pt x="214" y="0"/>
                      <a:pt x="214" y="0"/>
                      <a:pt x="214"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55"/>
              <p:cNvSpPr>
                <a:spLocks/>
              </p:cNvSpPr>
              <p:nvPr userDrawn="1"/>
            </p:nvSpPr>
            <p:spPr bwMode="auto">
              <a:xfrm>
                <a:off x="4967288" y="6023109"/>
                <a:ext cx="385763" cy="317500"/>
              </a:xfrm>
              <a:custGeom>
                <a:avLst/>
                <a:gdLst/>
                <a:ahLst/>
                <a:cxnLst>
                  <a:cxn ang="0">
                    <a:pos x="243" y="200"/>
                  </a:cxn>
                  <a:cxn ang="0">
                    <a:pos x="138" y="200"/>
                  </a:cxn>
                  <a:cxn ang="0">
                    <a:pos x="156" y="136"/>
                  </a:cxn>
                  <a:cxn ang="0">
                    <a:pos x="187" y="136"/>
                  </a:cxn>
                  <a:cxn ang="0">
                    <a:pos x="227" y="0"/>
                  </a:cxn>
                  <a:cxn ang="0">
                    <a:pos x="43" y="0"/>
                  </a:cxn>
                  <a:cxn ang="0">
                    <a:pos x="0" y="134"/>
                  </a:cxn>
                  <a:cxn ang="0">
                    <a:pos x="125" y="134"/>
                  </a:cxn>
                </a:cxnLst>
                <a:rect l="0" t="0" r="r" b="b"/>
                <a:pathLst>
                  <a:path w="243" h="200">
                    <a:moveTo>
                      <a:pt x="243" y="200"/>
                    </a:moveTo>
                    <a:lnTo>
                      <a:pt x="138" y="200"/>
                    </a:lnTo>
                    <a:lnTo>
                      <a:pt x="156" y="136"/>
                    </a:lnTo>
                    <a:lnTo>
                      <a:pt x="187" y="136"/>
                    </a:lnTo>
                    <a:lnTo>
                      <a:pt x="227" y="0"/>
                    </a:lnTo>
                    <a:lnTo>
                      <a:pt x="43" y="0"/>
                    </a:lnTo>
                    <a:lnTo>
                      <a:pt x="0" y="134"/>
                    </a:lnTo>
                    <a:lnTo>
                      <a:pt x="125" y="134"/>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56"/>
              <p:cNvSpPr>
                <a:spLocks/>
              </p:cNvSpPr>
              <p:nvPr userDrawn="1"/>
            </p:nvSpPr>
            <p:spPr bwMode="auto">
              <a:xfrm>
                <a:off x="5603875" y="6031046"/>
                <a:ext cx="268288" cy="311150"/>
              </a:xfrm>
              <a:custGeom>
                <a:avLst/>
                <a:gdLst/>
                <a:ahLst/>
                <a:cxnLst>
                  <a:cxn ang="0">
                    <a:pos x="139" y="18"/>
                  </a:cxn>
                  <a:cxn ang="0">
                    <a:pos x="137" y="11"/>
                  </a:cxn>
                  <a:cxn ang="0">
                    <a:pos x="118" y="3"/>
                  </a:cxn>
                  <a:cxn ang="0">
                    <a:pos x="110" y="23"/>
                  </a:cxn>
                  <a:cxn ang="0">
                    <a:pos x="130" y="31"/>
                  </a:cxn>
                  <a:cxn ang="0">
                    <a:pos x="130" y="46"/>
                  </a:cxn>
                  <a:cxn ang="0">
                    <a:pos x="124" y="47"/>
                  </a:cxn>
                  <a:cxn ang="0">
                    <a:pos x="118" y="46"/>
                  </a:cxn>
                  <a:cxn ang="0">
                    <a:pos x="111" y="153"/>
                  </a:cxn>
                  <a:cxn ang="0">
                    <a:pos x="104" y="159"/>
                  </a:cxn>
                  <a:cxn ang="0">
                    <a:pos x="89" y="159"/>
                  </a:cxn>
                  <a:cxn ang="0">
                    <a:pos x="57" y="160"/>
                  </a:cxn>
                  <a:cxn ang="0">
                    <a:pos x="0" y="160"/>
                  </a:cxn>
                </a:cxnLst>
                <a:rect l="0" t="0" r="r" b="b"/>
                <a:pathLst>
                  <a:path w="139" h="160">
                    <a:moveTo>
                      <a:pt x="139" y="18"/>
                    </a:moveTo>
                    <a:cubicBezTo>
                      <a:pt x="139" y="15"/>
                      <a:pt x="138" y="13"/>
                      <a:pt x="137" y="11"/>
                    </a:cubicBezTo>
                    <a:cubicBezTo>
                      <a:pt x="134" y="3"/>
                      <a:pt x="125" y="0"/>
                      <a:pt x="118" y="3"/>
                    </a:cubicBezTo>
                    <a:cubicBezTo>
                      <a:pt x="110" y="7"/>
                      <a:pt x="107" y="16"/>
                      <a:pt x="110" y="23"/>
                    </a:cubicBezTo>
                    <a:cubicBezTo>
                      <a:pt x="114" y="31"/>
                      <a:pt x="122" y="34"/>
                      <a:pt x="130" y="31"/>
                    </a:cubicBezTo>
                    <a:cubicBezTo>
                      <a:pt x="130" y="46"/>
                      <a:pt x="130" y="46"/>
                      <a:pt x="130" y="46"/>
                    </a:cubicBezTo>
                    <a:cubicBezTo>
                      <a:pt x="128" y="46"/>
                      <a:pt x="124" y="47"/>
                      <a:pt x="124" y="47"/>
                    </a:cubicBezTo>
                    <a:cubicBezTo>
                      <a:pt x="122" y="47"/>
                      <a:pt x="120" y="46"/>
                      <a:pt x="118" y="46"/>
                    </a:cubicBezTo>
                    <a:cubicBezTo>
                      <a:pt x="111" y="153"/>
                      <a:pt x="111" y="153"/>
                      <a:pt x="111" y="153"/>
                    </a:cubicBezTo>
                    <a:cubicBezTo>
                      <a:pt x="111" y="153"/>
                      <a:pt x="111" y="159"/>
                      <a:pt x="104" y="159"/>
                    </a:cubicBezTo>
                    <a:cubicBezTo>
                      <a:pt x="103" y="159"/>
                      <a:pt x="87" y="159"/>
                      <a:pt x="89" y="159"/>
                    </a:cubicBezTo>
                    <a:cubicBezTo>
                      <a:pt x="57" y="160"/>
                      <a:pt x="57" y="160"/>
                      <a:pt x="57" y="160"/>
                    </a:cubicBezTo>
                    <a:cubicBezTo>
                      <a:pt x="0" y="160"/>
                      <a:pt x="0" y="160"/>
                      <a:pt x="0" y="16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57"/>
              <p:cNvSpPr>
                <a:spLocks/>
              </p:cNvSpPr>
              <p:nvPr userDrawn="1"/>
            </p:nvSpPr>
            <p:spPr bwMode="auto">
              <a:xfrm>
                <a:off x="4773613" y="5954846"/>
                <a:ext cx="466725" cy="387350"/>
              </a:xfrm>
              <a:custGeom>
                <a:avLst/>
                <a:gdLst/>
                <a:ahLst/>
                <a:cxnLst>
                  <a:cxn ang="0">
                    <a:pos x="294" y="45"/>
                  </a:cxn>
                  <a:cxn ang="0">
                    <a:pos x="234" y="244"/>
                  </a:cxn>
                  <a:cxn ang="0">
                    <a:pos x="29" y="244"/>
                  </a:cxn>
                  <a:cxn ang="0">
                    <a:pos x="26" y="229"/>
                  </a:cxn>
                  <a:cxn ang="0">
                    <a:pos x="0" y="0"/>
                  </a:cxn>
                </a:cxnLst>
                <a:rect l="0" t="0" r="r" b="b"/>
                <a:pathLst>
                  <a:path w="294" h="244">
                    <a:moveTo>
                      <a:pt x="294" y="45"/>
                    </a:moveTo>
                    <a:lnTo>
                      <a:pt x="234" y="244"/>
                    </a:lnTo>
                    <a:lnTo>
                      <a:pt x="29" y="244"/>
                    </a:lnTo>
                    <a:lnTo>
                      <a:pt x="26" y="229"/>
                    </a:lnTo>
                    <a:lnTo>
                      <a:pt x="0"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58"/>
              <p:cNvSpPr>
                <a:spLocks/>
              </p:cNvSpPr>
              <p:nvPr userDrawn="1"/>
            </p:nvSpPr>
            <p:spPr bwMode="auto">
              <a:xfrm>
                <a:off x="4673600" y="5970721"/>
                <a:ext cx="42863" cy="20638"/>
              </a:xfrm>
              <a:custGeom>
                <a:avLst/>
                <a:gdLst/>
                <a:ahLst/>
                <a:cxnLst>
                  <a:cxn ang="0">
                    <a:pos x="26" y="13"/>
                  </a:cxn>
                  <a:cxn ang="0">
                    <a:pos x="0" y="13"/>
                  </a:cxn>
                  <a:cxn ang="0">
                    <a:pos x="27" y="0"/>
                  </a:cxn>
                </a:cxnLst>
                <a:rect l="0" t="0" r="r" b="b"/>
                <a:pathLst>
                  <a:path w="27" h="13">
                    <a:moveTo>
                      <a:pt x="26" y="13"/>
                    </a:moveTo>
                    <a:lnTo>
                      <a:pt x="0" y="13"/>
                    </a:lnTo>
                    <a:lnTo>
                      <a:pt x="27"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59"/>
              <p:cNvSpPr>
                <a:spLocks/>
              </p:cNvSpPr>
              <p:nvPr userDrawn="1"/>
            </p:nvSpPr>
            <p:spPr bwMode="auto">
              <a:xfrm>
                <a:off x="4803775" y="6175509"/>
                <a:ext cx="74613" cy="39688"/>
              </a:xfrm>
              <a:custGeom>
                <a:avLst/>
                <a:gdLst/>
                <a:ahLst/>
                <a:cxnLst>
                  <a:cxn ang="0">
                    <a:pos x="0" y="0"/>
                  </a:cxn>
                  <a:cxn ang="0">
                    <a:pos x="47" y="25"/>
                  </a:cxn>
                  <a:cxn ang="0">
                    <a:pos x="3" y="25"/>
                  </a:cxn>
                </a:cxnLst>
                <a:rect l="0" t="0" r="r" b="b"/>
                <a:pathLst>
                  <a:path w="47" h="25">
                    <a:moveTo>
                      <a:pt x="0" y="0"/>
                    </a:moveTo>
                    <a:lnTo>
                      <a:pt x="47" y="25"/>
                    </a:lnTo>
                    <a:lnTo>
                      <a:pt x="3" y="25"/>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60"/>
              <p:cNvSpPr>
                <a:spLocks/>
              </p:cNvSpPr>
              <p:nvPr userDrawn="1"/>
            </p:nvSpPr>
            <p:spPr bwMode="auto">
              <a:xfrm>
                <a:off x="4800600" y="6119946"/>
                <a:ext cx="85725" cy="30163"/>
              </a:xfrm>
              <a:custGeom>
                <a:avLst/>
                <a:gdLst/>
                <a:ahLst/>
                <a:cxnLst>
                  <a:cxn ang="0">
                    <a:pos x="0" y="0"/>
                  </a:cxn>
                  <a:cxn ang="0">
                    <a:pos x="54" y="19"/>
                  </a:cxn>
                  <a:cxn ang="0">
                    <a:pos x="0" y="19"/>
                  </a:cxn>
                </a:cxnLst>
                <a:rect l="0" t="0" r="r" b="b"/>
                <a:pathLst>
                  <a:path w="54" h="19">
                    <a:moveTo>
                      <a:pt x="0" y="0"/>
                    </a:moveTo>
                    <a:lnTo>
                      <a:pt x="54" y="19"/>
                    </a:lnTo>
                    <a:lnTo>
                      <a:pt x="0" y="19"/>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61"/>
              <p:cNvSpPr>
                <a:spLocks/>
              </p:cNvSpPr>
              <p:nvPr userDrawn="1"/>
            </p:nvSpPr>
            <p:spPr bwMode="auto">
              <a:xfrm>
                <a:off x="4778375" y="5970721"/>
                <a:ext cx="44450" cy="20638"/>
              </a:xfrm>
              <a:custGeom>
                <a:avLst/>
                <a:gdLst/>
                <a:ahLst/>
                <a:cxnLst>
                  <a:cxn ang="0">
                    <a:pos x="0" y="13"/>
                  </a:cxn>
                  <a:cxn ang="0">
                    <a:pos x="28" y="13"/>
                  </a:cxn>
                  <a:cxn ang="0">
                    <a:pos x="0" y="0"/>
                  </a:cxn>
                </a:cxnLst>
                <a:rect l="0" t="0" r="r" b="b"/>
                <a:pathLst>
                  <a:path w="28" h="13">
                    <a:moveTo>
                      <a:pt x="0" y="13"/>
                    </a:moveTo>
                    <a:lnTo>
                      <a:pt x="28" y="13"/>
                    </a:lnTo>
                    <a:lnTo>
                      <a:pt x="0"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62"/>
              <p:cNvSpPr>
                <a:spLocks/>
              </p:cNvSpPr>
              <p:nvPr userDrawn="1"/>
            </p:nvSpPr>
            <p:spPr bwMode="auto">
              <a:xfrm>
                <a:off x="4705350" y="5958021"/>
                <a:ext cx="69850" cy="134938"/>
              </a:xfrm>
              <a:custGeom>
                <a:avLst/>
                <a:gdLst/>
                <a:ahLst/>
                <a:cxnLst>
                  <a:cxn ang="0">
                    <a:pos x="34" y="0"/>
                  </a:cxn>
                  <a:cxn ang="0">
                    <a:pos x="7" y="21"/>
                  </a:cxn>
                  <a:cxn ang="0">
                    <a:pos x="36" y="41"/>
                  </a:cxn>
                  <a:cxn ang="0">
                    <a:pos x="0" y="69"/>
                  </a:cxn>
                </a:cxnLst>
                <a:rect l="0" t="0" r="r" b="b"/>
                <a:pathLst>
                  <a:path w="36" h="69">
                    <a:moveTo>
                      <a:pt x="34" y="0"/>
                    </a:moveTo>
                    <a:cubicBezTo>
                      <a:pt x="32" y="1"/>
                      <a:pt x="7" y="21"/>
                      <a:pt x="7" y="21"/>
                    </a:cubicBezTo>
                    <a:cubicBezTo>
                      <a:pt x="36" y="41"/>
                      <a:pt x="36" y="41"/>
                      <a:pt x="36" y="41"/>
                    </a:cubicBezTo>
                    <a:cubicBezTo>
                      <a:pt x="0" y="69"/>
                      <a:pt x="0" y="69"/>
                      <a:pt x="0" y="6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63"/>
              <p:cNvSpPr>
                <a:spLocks/>
              </p:cNvSpPr>
              <p:nvPr userDrawn="1"/>
            </p:nvSpPr>
            <p:spPr bwMode="auto">
              <a:xfrm>
                <a:off x="4695825" y="5872296"/>
                <a:ext cx="95250" cy="80963"/>
              </a:xfrm>
              <a:custGeom>
                <a:avLst/>
                <a:gdLst/>
                <a:ahLst/>
                <a:cxnLst>
                  <a:cxn ang="0">
                    <a:pos x="15" y="51"/>
                  </a:cxn>
                  <a:cxn ang="0">
                    <a:pos x="0" y="51"/>
                  </a:cxn>
                  <a:cxn ang="0">
                    <a:pos x="30" y="0"/>
                  </a:cxn>
                  <a:cxn ang="0">
                    <a:pos x="60" y="42"/>
                  </a:cxn>
                </a:cxnLst>
                <a:rect l="0" t="0" r="r" b="b"/>
                <a:pathLst>
                  <a:path w="60" h="51">
                    <a:moveTo>
                      <a:pt x="15" y="51"/>
                    </a:moveTo>
                    <a:lnTo>
                      <a:pt x="0" y="51"/>
                    </a:lnTo>
                    <a:lnTo>
                      <a:pt x="30" y="0"/>
                    </a:lnTo>
                    <a:lnTo>
                      <a:pt x="60" y="42"/>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64"/>
              <p:cNvSpPr>
                <a:spLocks/>
              </p:cNvSpPr>
              <p:nvPr userDrawn="1"/>
            </p:nvSpPr>
            <p:spPr bwMode="auto">
              <a:xfrm>
                <a:off x="4206875" y="5989771"/>
                <a:ext cx="139700" cy="157163"/>
              </a:xfrm>
              <a:custGeom>
                <a:avLst/>
                <a:gdLst/>
                <a:ahLst/>
                <a:cxnLst>
                  <a:cxn ang="0">
                    <a:pos x="0" y="64"/>
                  </a:cxn>
                  <a:cxn ang="0">
                    <a:pos x="67" y="14"/>
                  </a:cxn>
                  <a:cxn ang="0">
                    <a:pos x="0" y="64"/>
                  </a:cxn>
                </a:cxnLst>
                <a:rect l="0" t="0" r="r" b="b"/>
                <a:pathLst>
                  <a:path w="73" h="81">
                    <a:moveTo>
                      <a:pt x="0" y="64"/>
                    </a:moveTo>
                    <a:cubicBezTo>
                      <a:pt x="10" y="48"/>
                      <a:pt x="73" y="81"/>
                      <a:pt x="67" y="14"/>
                    </a:cubicBezTo>
                    <a:cubicBezTo>
                      <a:pt x="64" y="37"/>
                      <a:pt x="7" y="0"/>
                      <a:pt x="0" y="64"/>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65"/>
              <p:cNvSpPr>
                <a:spLocks/>
              </p:cNvSpPr>
              <p:nvPr userDrawn="1"/>
            </p:nvSpPr>
            <p:spPr bwMode="auto">
              <a:xfrm>
                <a:off x="4343400" y="6058034"/>
                <a:ext cx="107950" cy="120650"/>
              </a:xfrm>
              <a:custGeom>
                <a:avLst/>
                <a:gdLst/>
                <a:ahLst/>
                <a:cxnLst>
                  <a:cxn ang="0">
                    <a:pos x="0" y="48"/>
                  </a:cxn>
                  <a:cxn ang="0">
                    <a:pos x="52" y="10"/>
                  </a:cxn>
                  <a:cxn ang="0">
                    <a:pos x="0" y="48"/>
                  </a:cxn>
                </a:cxnLst>
                <a:rect l="0" t="0" r="r" b="b"/>
                <a:pathLst>
                  <a:path w="56" h="62">
                    <a:moveTo>
                      <a:pt x="0" y="48"/>
                    </a:moveTo>
                    <a:cubicBezTo>
                      <a:pt x="8" y="36"/>
                      <a:pt x="56" y="62"/>
                      <a:pt x="52" y="10"/>
                    </a:cubicBezTo>
                    <a:cubicBezTo>
                      <a:pt x="49" y="28"/>
                      <a:pt x="5" y="0"/>
                      <a:pt x="0" y="48"/>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 name="Freeform 66"/>
              <p:cNvSpPr>
                <a:spLocks/>
              </p:cNvSpPr>
              <p:nvPr userDrawn="1"/>
            </p:nvSpPr>
            <p:spPr bwMode="auto">
              <a:xfrm>
                <a:off x="4135438" y="6140584"/>
                <a:ext cx="179388" cy="166688"/>
              </a:xfrm>
              <a:custGeom>
                <a:avLst/>
                <a:gdLst/>
                <a:ahLst/>
                <a:cxnLst>
                  <a:cxn ang="0">
                    <a:pos x="93" y="86"/>
                  </a:cxn>
                  <a:cxn ang="0">
                    <a:pos x="78" y="42"/>
                  </a:cxn>
                  <a:cxn ang="0">
                    <a:pos x="73" y="0"/>
                  </a:cxn>
                  <a:cxn ang="0">
                    <a:pos x="20" y="0"/>
                  </a:cxn>
                  <a:cxn ang="0">
                    <a:pos x="14" y="42"/>
                  </a:cxn>
                  <a:cxn ang="0">
                    <a:pos x="0" y="86"/>
                  </a:cxn>
                </a:cxnLst>
                <a:rect l="0" t="0" r="r" b="b"/>
                <a:pathLst>
                  <a:path w="93" h="86">
                    <a:moveTo>
                      <a:pt x="93" y="86"/>
                    </a:moveTo>
                    <a:cubicBezTo>
                      <a:pt x="93" y="86"/>
                      <a:pt x="85" y="67"/>
                      <a:pt x="78" y="42"/>
                    </a:cubicBezTo>
                    <a:cubicBezTo>
                      <a:pt x="75" y="28"/>
                      <a:pt x="73" y="0"/>
                      <a:pt x="73" y="0"/>
                    </a:cubicBezTo>
                    <a:cubicBezTo>
                      <a:pt x="20" y="0"/>
                      <a:pt x="20" y="0"/>
                      <a:pt x="20" y="0"/>
                    </a:cubicBezTo>
                    <a:cubicBezTo>
                      <a:pt x="20" y="0"/>
                      <a:pt x="18" y="28"/>
                      <a:pt x="14" y="42"/>
                    </a:cubicBezTo>
                    <a:cubicBezTo>
                      <a:pt x="8" y="67"/>
                      <a:pt x="0" y="86"/>
                      <a:pt x="0" y="86"/>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7"/>
              <p:cNvSpPr>
                <a:spLocks/>
              </p:cNvSpPr>
              <p:nvPr userDrawn="1"/>
            </p:nvSpPr>
            <p:spPr bwMode="auto">
              <a:xfrm>
                <a:off x="3735388" y="6059621"/>
                <a:ext cx="127000" cy="201613"/>
              </a:xfrm>
              <a:custGeom>
                <a:avLst/>
                <a:gdLst/>
                <a:ahLst/>
                <a:cxnLst>
                  <a:cxn ang="0">
                    <a:pos x="66" y="1"/>
                  </a:cxn>
                  <a:cxn ang="0">
                    <a:pos x="17" y="17"/>
                  </a:cxn>
                  <a:cxn ang="0">
                    <a:pos x="0" y="58"/>
                  </a:cxn>
                  <a:cxn ang="0">
                    <a:pos x="8" y="88"/>
                  </a:cxn>
                  <a:cxn ang="0">
                    <a:pos x="34" y="103"/>
                  </a:cxn>
                </a:cxnLst>
                <a:rect l="0" t="0" r="r" b="b"/>
                <a:pathLst>
                  <a:path w="66" h="103">
                    <a:moveTo>
                      <a:pt x="66" y="1"/>
                    </a:moveTo>
                    <a:cubicBezTo>
                      <a:pt x="47" y="0"/>
                      <a:pt x="30" y="6"/>
                      <a:pt x="17" y="17"/>
                    </a:cubicBezTo>
                    <a:cubicBezTo>
                      <a:pt x="6" y="26"/>
                      <a:pt x="0" y="40"/>
                      <a:pt x="0" y="58"/>
                    </a:cubicBezTo>
                    <a:cubicBezTo>
                      <a:pt x="0" y="70"/>
                      <a:pt x="3" y="80"/>
                      <a:pt x="8" y="88"/>
                    </a:cubicBezTo>
                    <a:cubicBezTo>
                      <a:pt x="13" y="96"/>
                      <a:pt x="25" y="103"/>
                      <a:pt x="34" y="103"/>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68"/>
              <p:cNvSpPr>
                <a:spLocks/>
              </p:cNvSpPr>
              <p:nvPr userDrawn="1"/>
            </p:nvSpPr>
            <p:spPr bwMode="auto">
              <a:xfrm>
                <a:off x="3714750" y="6040571"/>
                <a:ext cx="147638" cy="250825"/>
              </a:xfrm>
              <a:custGeom>
                <a:avLst/>
                <a:gdLst/>
                <a:ahLst/>
                <a:cxnLst>
                  <a:cxn ang="0">
                    <a:pos x="77" y="0"/>
                  </a:cxn>
                  <a:cxn ang="0">
                    <a:pos x="21" y="19"/>
                  </a:cxn>
                  <a:cxn ang="0">
                    <a:pos x="0" y="68"/>
                  </a:cxn>
                  <a:cxn ang="0">
                    <a:pos x="10" y="104"/>
                  </a:cxn>
                  <a:cxn ang="0">
                    <a:pos x="45" y="129"/>
                  </a:cxn>
                </a:cxnLst>
                <a:rect l="0" t="0" r="r" b="b"/>
                <a:pathLst>
                  <a:path w="77" h="129">
                    <a:moveTo>
                      <a:pt x="77" y="0"/>
                    </a:moveTo>
                    <a:cubicBezTo>
                      <a:pt x="56" y="0"/>
                      <a:pt x="36" y="6"/>
                      <a:pt x="21" y="19"/>
                    </a:cubicBezTo>
                    <a:cubicBezTo>
                      <a:pt x="8" y="30"/>
                      <a:pt x="0" y="46"/>
                      <a:pt x="0" y="68"/>
                    </a:cubicBezTo>
                    <a:cubicBezTo>
                      <a:pt x="0" y="82"/>
                      <a:pt x="4" y="94"/>
                      <a:pt x="10" y="104"/>
                    </a:cubicBezTo>
                    <a:cubicBezTo>
                      <a:pt x="17" y="114"/>
                      <a:pt x="30" y="125"/>
                      <a:pt x="45" y="12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70"/>
              <p:cNvSpPr>
                <a:spLocks/>
              </p:cNvSpPr>
              <p:nvPr userDrawn="1"/>
            </p:nvSpPr>
            <p:spPr bwMode="auto">
              <a:xfrm>
                <a:off x="3802063" y="6291396"/>
                <a:ext cx="19050" cy="25400"/>
              </a:xfrm>
              <a:custGeom>
                <a:avLst/>
                <a:gdLst/>
                <a:ahLst/>
                <a:cxnLst>
                  <a:cxn ang="0">
                    <a:pos x="10" y="13"/>
                  </a:cxn>
                  <a:cxn ang="0">
                    <a:pos x="0" y="0"/>
                  </a:cxn>
                </a:cxnLst>
                <a:rect l="0" t="0" r="r" b="b"/>
                <a:pathLst>
                  <a:path w="10" h="13">
                    <a:moveTo>
                      <a:pt x="10" y="13"/>
                    </a:moveTo>
                    <a:cubicBezTo>
                      <a:pt x="5" y="13"/>
                      <a:pt x="1" y="7"/>
                      <a:pt x="0"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71"/>
              <p:cNvSpPr>
                <a:spLocks/>
              </p:cNvSpPr>
              <p:nvPr userDrawn="1"/>
            </p:nvSpPr>
            <p:spPr bwMode="auto">
              <a:xfrm>
                <a:off x="3802063" y="6162809"/>
                <a:ext cx="219075" cy="98425"/>
              </a:xfrm>
              <a:custGeom>
                <a:avLst/>
                <a:gdLst/>
                <a:ahLst/>
                <a:cxnLst>
                  <a:cxn ang="0">
                    <a:pos x="114" y="29"/>
                  </a:cxn>
                  <a:cxn ang="0">
                    <a:pos x="63" y="0"/>
                  </a:cxn>
                  <a:cxn ang="0">
                    <a:pos x="10" y="37"/>
                  </a:cxn>
                  <a:cxn ang="0">
                    <a:pos x="0" y="50"/>
                  </a:cxn>
                </a:cxnLst>
                <a:rect l="0" t="0" r="r" b="b"/>
                <a:pathLst>
                  <a:path w="114" h="50">
                    <a:moveTo>
                      <a:pt x="114" y="29"/>
                    </a:moveTo>
                    <a:cubicBezTo>
                      <a:pt x="108" y="6"/>
                      <a:pt x="95" y="1"/>
                      <a:pt x="63" y="0"/>
                    </a:cubicBezTo>
                    <a:cubicBezTo>
                      <a:pt x="27" y="0"/>
                      <a:pt x="15" y="7"/>
                      <a:pt x="10" y="37"/>
                    </a:cubicBezTo>
                    <a:cubicBezTo>
                      <a:pt x="5" y="37"/>
                      <a:pt x="2" y="43"/>
                      <a:pt x="0" y="5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72"/>
              <p:cNvSpPr>
                <a:spLocks/>
              </p:cNvSpPr>
              <p:nvPr userDrawn="1"/>
            </p:nvSpPr>
            <p:spPr bwMode="auto">
              <a:xfrm>
                <a:off x="3851275" y="6237421"/>
                <a:ext cx="201613" cy="79375"/>
              </a:xfrm>
              <a:custGeom>
                <a:avLst/>
                <a:gdLst/>
                <a:ahLst/>
                <a:cxnLst>
                  <a:cxn ang="0">
                    <a:pos x="0" y="0"/>
                  </a:cxn>
                  <a:cxn ang="0">
                    <a:pos x="89" y="0"/>
                  </a:cxn>
                  <a:cxn ang="0">
                    <a:pos x="89" y="41"/>
                  </a:cxn>
                </a:cxnLst>
                <a:rect l="0" t="0" r="r" b="b"/>
                <a:pathLst>
                  <a:path w="104" h="41">
                    <a:moveTo>
                      <a:pt x="0" y="0"/>
                    </a:moveTo>
                    <a:cubicBezTo>
                      <a:pt x="89" y="0"/>
                      <a:pt x="89" y="0"/>
                      <a:pt x="89" y="0"/>
                    </a:cubicBezTo>
                    <a:cubicBezTo>
                      <a:pt x="104" y="0"/>
                      <a:pt x="103" y="41"/>
                      <a:pt x="89" y="41"/>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73"/>
              <p:cNvSpPr>
                <a:spLocks/>
              </p:cNvSpPr>
              <p:nvPr userDrawn="1"/>
            </p:nvSpPr>
            <p:spPr bwMode="auto">
              <a:xfrm>
                <a:off x="3811588" y="6264409"/>
                <a:ext cx="46038" cy="23813"/>
              </a:xfrm>
              <a:custGeom>
                <a:avLst/>
                <a:gdLst/>
                <a:ahLst/>
                <a:cxnLst>
                  <a:cxn ang="0">
                    <a:pos x="13" y="0"/>
                  </a:cxn>
                  <a:cxn ang="0">
                    <a:pos x="7" y="0"/>
                  </a:cxn>
                  <a:cxn ang="0">
                    <a:pos x="7" y="12"/>
                  </a:cxn>
                  <a:cxn ang="0">
                    <a:pos x="18" y="12"/>
                  </a:cxn>
                  <a:cxn ang="0">
                    <a:pos x="24" y="8"/>
                  </a:cxn>
                  <a:cxn ang="0">
                    <a:pos x="13" y="0"/>
                  </a:cxn>
                </a:cxnLst>
                <a:rect l="0" t="0" r="r" b="b"/>
                <a:pathLst>
                  <a:path w="24" h="12">
                    <a:moveTo>
                      <a:pt x="13" y="0"/>
                    </a:moveTo>
                    <a:cubicBezTo>
                      <a:pt x="7" y="0"/>
                      <a:pt x="7" y="0"/>
                      <a:pt x="7" y="0"/>
                    </a:cubicBezTo>
                    <a:cubicBezTo>
                      <a:pt x="0" y="0"/>
                      <a:pt x="0" y="12"/>
                      <a:pt x="7" y="12"/>
                    </a:cubicBezTo>
                    <a:cubicBezTo>
                      <a:pt x="18" y="12"/>
                      <a:pt x="18" y="12"/>
                      <a:pt x="18" y="12"/>
                    </a:cubicBezTo>
                    <a:cubicBezTo>
                      <a:pt x="23" y="12"/>
                      <a:pt x="24" y="10"/>
                      <a:pt x="24" y="8"/>
                    </a:cubicBezTo>
                    <a:cubicBezTo>
                      <a:pt x="24" y="5"/>
                      <a:pt x="18" y="0"/>
                      <a:pt x="13" y="0"/>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74"/>
              <p:cNvSpPr>
                <a:spLocks/>
              </p:cNvSpPr>
              <p:nvPr userDrawn="1"/>
            </p:nvSpPr>
            <p:spPr bwMode="auto">
              <a:xfrm>
                <a:off x="3983038" y="6265996"/>
                <a:ext cx="46038" cy="22225"/>
              </a:xfrm>
              <a:custGeom>
                <a:avLst/>
                <a:gdLst/>
                <a:ahLst/>
                <a:cxnLst>
                  <a:cxn ang="0">
                    <a:pos x="17" y="0"/>
                  </a:cxn>
                  <a:cxn ang="0">
                    <a:pos x="11" y="0"/>
                  </a:cxn>
                  <a:cxn ang="0">
                    <a:pos x="0" y="7"/>
                  </a:cxn>
                  <a:cxn ang="0">
                    <a:pos x="6" y="11"/>
                  </a:cxn>
                  <a:cxn ang="0">
                    <a:pos x="17" y="11"/>
                  </a:cxn>
                  <a:cxn ang="0">
                    <a:pos x="17" y="0"/>
                  </a:cxn>
                </a:cxnLst>
                <a:rect l="0" t="0" r="r" b="b"/>
                <a:pathLst>
                  <a:path w="24" h="11">
                    <a:moveTo>
                      <a:pt x="17" y="0"/>
                    </a:moveTo>
                    <a:cubicBezTo>
                      <a:pt x="11" y="0"/>
                      <a:pt x="11" y="0"/>
                      <a:pt x="11" y="0"/>
                    </a:cubicBezTo>
                    <a:cubicBezTo>
                      <a:pt x="6" y="0"/>
                      <a:pt x="0" y="4"/>
                      <a:pt x="0" y="7"/>
                    </a:cubicBezTo>
                    <a:cubicBezTo>
                      <a:pt x="0" y="9"/>
                      <a:pt x="1" y="11"/>
                      <a:pt x="6" y="11"/>
                    </a:cubicBezTo>
                    <a:cubicBezTo>
                      <a:pt x="17" y="11"/>
                      <a:pt x="17" y="11"/>
                      <a:pt x="17" y="11"/>
                    </a:cubicBezTo>
                    <a:cubicBezTo>
                      <a:pt x="24" y="11"/>
                      <a:pt x="24" y="0"/>
                      <a:pt x="17" y="0"/>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Line 75"/>
              <p:cNvSpPr>
                <a:spLocks noChangeShapeType="1"/>
              </p:cNvSpPr>
              <p:nvPr userDrawn="1"/>
            </p:nvSpPr>
            <p:spPr bwMode="auto">
              <a:xfrm flipV="1">
                <a:off x="4025900" y="6034221"/>
                <a:ext cx="1588" cy="33338"/>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76"/>
              <p:cNvSpPr>
                <a:spLocks/>
              </p:cNvSpPr>
              <p:nvPr userDrawn="1"/>
            </p:nvSpPr>
            <p:spPr bwMode="auto">
              <a:xfrm>
                <a:off x="3862388" y="5980246"/>
                <a:ext cx="163513" cy="60325"/>
              </a:xfrm>
              <a:custGeom>
                <a:avLst/>
                <a:gdLst/>
                <a:ahLst/>
                <a:cxnLst>
                  <a:cxn ang="0">
                    <a:pos x="84" y="10"/>
                  </a:cxn>
                  <a:cxn ang="0">
                    <a:pos x="84" y="0"/>
                  </a:cxn>
                  <a:cxn ang="0">
                    <a:pos x="71" y="0"/>
                  </a:cxn>
                  <a:cxn ang="0">
                    <a:pos x="66" y="1"/>
                  </a:cxn>
                  <a:cxn ang="0">
                    <a:pos x="37" y="21"/>
                  </a:cxn>
                  <a:cxn ang="0">
                    <a:pos x="5" y="26"/>
                  </a:cxn>
                  <a:cxn ang="0">
                    <a:pos x="0" y="31"/>
                  </a:cxn>
                </a:cxnLst>
                <a:rect l="0" t="0" r="r" b="b"/>
                <a:pathLst>
                  <a:path w="84" h="31">
                    <a:moveTo>
                      <a:pt x="84" y="10"/>
                    </a:moveTo>
                    <a:cubicBezTo>
                      <a:pt x="84" y="0"/>
                      <a:pt x="84" y="0"/>
                      <a:pt x="84" y="0"/>
                    </a:cubicBezTo>
                    <a:cubicBezTo>
                      <a:pt x="71" y="0"/>
                      <a:pt x="71" y="0"/>
                      <a:pt x="71" y="0"/>
                    </a:cubicBezTo>
                    <a:cubicBezTo>
                      <a:pt x="69" y="0"/>
                      <a:pt x="67" y="0"/>
                      <a:pt x="66" y="1"/>
                    </a:cubicBezTo>
                    <a:cubicBezTo>
                      <a:pt x="37" y="21"/>
                      <a:pt x="37" y="21"/>
                      <a:pt x="37" y="21"/>
                    </a:cubicBezTo>
                    <a:cubicBezTo>
                      <a:pt x="5" y="26"/>
                      <a:pt x="5" y="26"/>
                      <a:pt x="5" y="26"/>
                    </a:cubicBezTo>
                    <a:cubicBezTo>
                      <a:pt x="2" y="26"/>
                      <a:pt x="0" y="28"/>
                      <a:pt x="0" y="31"/>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77"/>
              <p:cNvSpPr>
                <a:spLocks/>
              </p:cNvSpPr>
              <p:nvPr userDrawn="1"/>
            </p:nvSpPr>
            <p:spPr bwMode="auto">
              <a:xfrm>
                <a:off x="3862388" y="6061209"/>
                <a:ext cx="163513" cy="63500"/>
              </a:xfrm>
              <a:custGeom>
                <a:avLst/>
                <a:gdLst/>
                <a:ahLst/>
                <a:cxnLst>
                  <a:cxn ang="0">
                    <a:pos x="84" y="20"/>
                  </a:cxn>
                  <a:cxn ang="0">
                    <a:pos x="84" y="32"/>
                  </a:cxn>
                  <a:cxn ang="0">
                    <a:pos x="71" y="32"/>
                  </a:cxn>
                  <a:cxn ang="0">
                    <a:pos x="66" y="30"/>
                  </a:cxn>
                  <a:cxn ang="0">
                    <a:pos x="37" y="10"/>
                  </a:cxn>
                  <a:cxn ang="0">
                    <a:pos x="5" y="5"/>
                  </a:cxn>
                  <a:cxn ang="0">
                    <a:pos x="0" y="0"/>
                  </a:cxn>
                </a:cxnLst>
                <a:rect l="0" t="0" r="r" b="b"/>
                <a:pathLst>
                  <a:path w="84" h="32">
                    <a:moveTo>
                      <a:pt x="84" y="20"/>
                    </a:moveTo>
                    <a:cubicBezTo>
                      <a:pt x="84" y="32"/>
                      <a:pt x="84" y="32"/>
                      <a:pt x="84" y="32"/>
                    </a:cubicBezTo>
                    <a:cubicBezTo>
                      <a:pt x="71" y="32"/>
                      <a:pt x="71" y="32"/>
                      <a:pt x="71" y="32"/>
                    </a:cubicBezTo>
                    <a:cubicBezTo>
                      <a:pt x="69" y="31"/>
                      <a:pt x="67" y="31"/>
                      <a:pt x="66" y="30"/>
                    </a:cubicBezTo>
                    <a:cubicBezTo>
                      <a:pt x="37" y="10"/>
                      <a:pt x="37" y="10"/>
                      <a:pt x="37" y="10"/>
                    </a:cubicBezTo>
                    <a:cubicBezTo>
                      <a:pt x="5" y="5"/>
                      <a:pt x="5" y="5"/>
                      <a:pt x="5" y="5"/>
                    </a:cubicBezTo>
                    <a:cubicBezTo>
                      <a:pt x="2" y="5"/>
                      <a:pt x="0" y="3"/>
                      <a:pt x="0"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78"/>
              <p:cNvSpPr>
                <a:spLocks/>
              </p:cNvSpPr>
              <p:nvPr userDrawn="1"/>
            </p:nvSpPr>
            <p:spPr bwMode="auto">
              <a:xfrm>
                <a:off x="4025900" y="5999296"/>
                <a:ext cx="85725" cy="34925"/>
              </a:xfrm>
              <a:custGeom>
                <a:avLst/>
                <a:gdLst/>
                <a:ahLst/>
                <a:cxnLst>
                  <a:cxn ang="0">
                    <a:pos x="0" y="18"/>
                  </a:cxn>
                  <a:cxn ang="0">
                    <a:pos x="36" y="18"/>
                  </a:cxn>
                  <a:cxn ang="0">
                    <a:pos x="45" y="9"/>
                  </a:cxn>
                  <a:cxn ang="0">
                    <a:pos x="36" y="0"/>
                  </a:cxn>
                  <a:cxn ang="0">
                    <a:pos x="0" y="0"/>
                  </a:cxn>
                </a:cxnLst>
                <a:rect l="0" t="0" r="r" b="b"/>
                <a:pathLst>
                  <a:path w="45" h="18">
                    <a:moveTo>
                      <a:pt x="0" y="18"/>
                    </a:moveTo>
                    <a:cubicBezTo>
                      <a:pt x="36" y="18"/>
                      <a:pt x="36" y="18"/>
                      <a:pt x="36" y="18"/>
                    </a:cubicBezTo>
                    <a:cubicBezTo>
                      <a:pt x="41" y="18"/>
                      <a:pt x="45" y="14"/>
                      <a:pt x="45" y="9"/>
                    </a:cubicBezTo>
                    <a:cubicBezTo>
                      <a:pt x="45" y="4"/>
                      <a:pt x="41" y="0"/>
                      <a:pt x="36" y="0"/>
                    </a:cubicBezTo>
                    <a:cubicBezTo>
                      <a:pt x="0" y="0"/>
                      <a:pt x="0" y="0"/>
                      <a:pt x="0"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79"/>
              <p:cNvSpPr>
                <a:spLocks/>
              </p:cNvSpPr>
              <p:nvPr userDrawn="1"/>
            </p:nvSpPr>
            <p:spPr bwMode="auto">
              <a:xfrm>
                <a:off x="4025900" y="6067559"/>
                <a:ext cx="85725" cy="33338"/>
              </a:xfrm>
              <a:custGeom>
                <a:avLst/>
                <a:gdLst/>
                <a:ahLst/>
                <a:cxnLst>
                  <a:cxn ang="0">
                    <a:pos x="0" y="17"/>
                  </a:cxn>
                  <a:cxn ang="0">
                    <a:pos x="36" y="17"/>
                  </a:cxn>
                  <a:cxn ang="0">
                    <a:pos x="45" y="9"/>
                  </a:cxn>
                  <a:cxn ang="0">
                    <a:pos x="36" y="0"/>
                  </a:cxn>
                  <a:cxn ang="0">
                    <a:pos x="0" y="0"/>
                  </a:cxn>
                </a:cxnLst>
                <a:rect l="0" t="0" r="r" b="b"/>
                <a:pathLst>
                  <a:path w="45" h="17">
                    <a:moveTo>
                      <a:pt x="0" y="17"/>
                    </a:moveTo>
                    <a:cubicBezTo>
                      <a:pt x="36" y="17"/>
                      <a:pt x="36" y="17"/>
                      <a:pt x="36" y="17"/>
                    </a:cubicBezTo>
                    <a:cubicBezTo>
                      <a:pt x="41" y="17"/>
                      <a:pt x="45" y="13"/>
                      <a:pt x="45" y="9"/>
                    </a:cubicBezTo>
                    <a:cubicBezTo>
                      <a:pt x="45" y="4"/>
                      <a:pt x="41" y="0"/>
                      <a:pt x="36" y="0"/>
                    </a:cubicBezTo>
                    <a:cubicBezTo>
                      <a:pt x="0" y="0"/>
                      <a:pt x="0" y="0"/>
                      <a:pt x="0"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Line 81"/>
              <p:cNvSpPr>
                <a:spLocks noChangeShapeType="1"/>
              </p:cNvSpPr>
              <p:nvPr userDrawn="1"/>
            </p:nvSpPr>
            <p:spPr bwMode="auto">
              <a:xfrm flipH="1">
                <a:off x="5067300" y="6026284"/>
                <a:ext cx="66675" cy="2095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Line 82"/>
              <p:cNvSpPr>
                <a:spLocks noChangeShapeType="1"/>
              </p:cNvSpPr>
              <p:nvPr userDrawn="1"/>
            </p:nvSpPr>
            <p:spPr bwMode="auto">
              <a:xfrm>
                <a:off x="5013325" y="6099309"/>
                <a:ext cx="285750" cy="1588"/>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Line 83"/>
              <p:cNvSpPr>
                <a:spLocks noChangeShapeType="1"/>
              </p:cNvSpPr>
              <p:nvPr userDrawn="1"/>
            </p:nvSpPr>
            <p:spPr bwMode="auto">
              <a:xfrm>
                <a:off x="4991100" y="6169159"/>
                <a:ext cx="287338" cy="1588"/>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84"/>
              <p:cNvSpPr>
                <a:spLocks/>
              </p:cNvSpPr>
              <p:nvPr userDrawn="1"/>
            </p:nvSpPr>
            <p:spPr bwMode="auto">
              <a:xfrm>
                <a:off x="5813425" y="5859596"/>
                <a:ext cx="74613" cy="163513"/>
              </a:xfrm>
              <a:custGeom>
                <a:avLst/>
                <a:gdLst/>
                <a:ahLst/>
                <a:cxnLst>
                  <a:cxn ang="0">
                    <a:pos x="16" y="84"/>
                  </a:cxn>
                  <a:cxn ang="0">
                    <a:pos x="5" y="39"/>
                  </a:cxn>
                  <a:cxn ang="0">
                    <a:pos x="12" y="9"/>
                  </a:cxn>
                  <a:cxn ang="0">
                    <a:pos x="29" y="0"/>
                  </a:cxn>
                  <a:cxn ang="0">
                    <a:pos x="25" y="11"/>
                  </a:cxn>
                  <a:cxn ang="0">
                    <a:pos x="29" y="36"/>
                  </a:cxn>
                  <a:cxn ang="0">
                    <a:pos x="23" y="72"/>
                  </a:cxn>
                </a:cxnLst>
                <a:rect l="0" t="0" r="r" b="b"/>
                <a:pathLst>
                  <a:path w="38" h="84">
                    <a:moveTo>
                      <a:pt x="16" y="84"/>
                    </a:moveTo>
                    <a:cubicBezTo>
                      <a:pt x="16" y="84"/>
                      <a:pt x="16" y="64"/>
                      <a:pt x="5" y="39"/>
                    </a:cubicBezTo>
                    <a:cubicBezTo>
                      <a:pt x="0" y="27"/>
                      <a:pt x="5" y="16"/>
                      <a:pt x="12" y="9"/>
                    </a:cubicBezTo>
                    <a:cubicBezTo>
                      <a:pt x="19" y="3"/>
                      <a:pt x="30" y="0"/>
                      <a:pt x="29" y="0"/>
                    </a:cubicBezTo>
                    <a:cubicBezTo>
                      <a:pt x="30" y="0"/>
                      <a:pt x="25" y="4"/>
                      <a:pt x="25" y="11"/>
                    </a:cubicBezTo>
                    <a:cubicBezTo>
                      <a:pt x="24" y="17"/>
                      <a:pt x="26" y="27"/>
                      <a:pt x="29" y="36"/>
                    </a:cubicBezTo>
                    <a:cubicBezTo>
                      <a:pt x="38" y="62"/>
                      <a:pt x="23" y="73"/>
                      <a:pt x="23" y="72"/>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85"/>
              <p:cNvSpPr>
                <a:spLocks/>
              </p:cNvSpPr>
              <p:nvPr userDrawn="1"/>
            </p:nvSpPr>
            <p:spPr bwMode="auto">
              <a:xfrm>
                <a:off x="5651500" y="6053271"/>
                <a:ext cx="155575" cy="104775"/>
              </a:xfrm>
              <a:custGeom>
                <a:avLst/>
                <a:gdLst/>
                <a:ahLst/>
                <a:cxnLst>
                  <a:cxn ang="0">
                    <a:pos x="80" y="9"/>
                  </a:cxn>
                  <a:cxn ang="0">
                    <a:pos x="46" y="40"/>
                  </a:cxn>
                  <a:cxn ang="0">
                    <a:pos x="17" y="49"/>
                  </a:cxn>
                  <a:cxn ang="0">
                    <a:pos x="0" y="39"/>
                  </a:cxn>
                  <a:cxn ang="0">
                    <a:pos x="12" y="38"/>
                  </a:cxn>
                  <a:cxn ang="0">
                    <a:pos x="31" y="22"/>
                  </a:cxn>
                  <a:cxn ang="0">
                    <a:pos x="66" y="9"/>
                  </a:cxn>
                </a:cxnLst>
                <a:rect l="0" t="0" r="r" b="b"/>
                <a:pathLst>
                  <a:path w="80" h="53">
                    <a:moveTo>
                      <a:pt x="80" y="9"/>
                    </a:moveTo>
                    <a:cubicBezTo>
                      <a:pt x="80" y="9"/>
                      <a:pt x="62" y="18"/>
                      <a:pt x="46" y="40"/>
                    </a:cubicBezTo>
                    <a:cubicBezTo>
                      <a:pt x="38" y="51"/>
                      <a:pt x="26" y="53"/>
                      <a:pt x="17" y="49"/>
                    </a:cubicBezTo>
                    <a:cubicBezTo>
                      <a:pt x="8" y="47"/>
                      <a:pt x="0" y="38"/>
                      <a:pt x="0" y="39"/>
                    </a:cubicBezTo>
                    <a:cubicBezTo>
                      <a:pt x="0" y="39"/>
                      <a:pt x="5" y="40"/>
                      <a:pt x="12" y="38"/>
                    </a:cubicBezTo>
                    <a:cubicBezTo>
                      <a:pt x="18" y="35"/>
                      <a:pt x="25" y="28"/>
                      <a:pt x="31" y="22"/>
                    </a:cubicBezTo>
                    <a:cubicBezTo>
                      <a:pt x="50" y="0"/>
                      <a:pt x="66" y="8"/>
                      <a:pt x="66" y="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88"/>
              <p:cNvSpPr>
                <a:spLocks/>
              </p:cNvSpPr>
              <p:nvPr userDrawn="1"/>
            </p:nvSpPr>
            <p:spPr bwMode="auto">
              <a:xfrm>
                <a:off x="5362575" y="6035809"/>
                <a:ext cx="233363" cy="400050"/>
              </a:xfrm>
              <a:custGeom>
                <a:avLst/>
                <a:gdLst/>
                <a:ahLst/>
                <a:cxnLst>
                  <a:cxn ang="0">
                    <a:pos x="40" y="54"/>
                  </a:cxn>
                  <a:cxn ang="0">
                    <a:pos x="0" y="145"/>
                  </a:cxn>
                  <a:cxn ang="0">
                    <a:pos x="60" y="205"/>
                  </a:cxn>
                  <a:cxn ang="0">
                    <a:pos x="121" y="145"/>
                  </a:cxn>
                  <a:cxn ang="0">
                    <a:pos x="60" y="0"/>
                  </a:cxn>
                </a:cxnLst>
                <a:rect l="0" t="0" r="r" b="b"/>
                <a:pathLst>
                  <a:path w="121" h="205">
                    <a:moveTo>
                      <a:pt x="40" y="54"/>
                    </a:moveTo>
                    <a:cubicBezTo>
                      <a:pt x="23" y="83"/>
                      <a:pt x="0" y="111"/>
                      <a:pt x="0" y="145"/>
                    </a:cubicBezTo>
                    <a:cubicBezTo>
                      <a:pt x="0" y="178"/>
                      <a:pt x="27" y="205"/>
                      <a:pt x="60" y="205"/>
                    </a:cubicBezTo>
                    <a:cubicBezTo>
                      <a:pt x="94" y="205"/>
                      <a:pt x="121" y="178"/>
                      <a:pt x="121" y="145"/>
                    </a:cubicBezTo>
                    <a:cubicBezTo>
                      <a:pt x="121" y="96"/>
                      <a:pt x="69" y="56"/>
                      <a:pt x="60"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89"/>
              <p:cNvSpPr>
                <a:spLocks/>
              </p:cNvSpPr>
              <p:nvPr userDrawn="1"/>
            </p:nvSpPr>
            <p:spPr bwMode="auto">
              <a:xfrm>
                <a:off x="5489575" y="6159634"/>
                <a:ext cx="71438" cy="198438"/>
              </a:xfrm>
              <a:custGeom>
                <a:avLst/>
                <a:gdLst/>
                <a:ahLst/>
                <a:cxnLst>
                  <a:cxn ang="0">
                    <a:pos x="22" y="101"/>
                  </a:cxn>
                  <a:cxn ang="0">
                    <a:pos x="27" y="102"/>
                  </a:cxn>
                  <a:cxn ang="0">
                    <a:pos x="36" y="82"/>
                  </a:cxn>
                  <a:cxn ang="0">
                    <a:pos x="28" y="52"/>
                  </a:cxn>
                  <a:cxn ang="0">
                    <a:pos x="16" y="31"/>
                  </a:cxn>
                  <a:cxn ang="0">
                    <a:pos x="0" y="0"/>
                  </a:cxn>
                </a:cxnLst>
                <a:rect l="0" t="0" r="r" b="b"/>
                <a:pathLst>
                  <a:path w="37" h="102">
                    <a:moveTo>
                      <a:pt x="22" y="101"/>
                    </a:moveTo>
                    <a:cubicBezTo>
                      <a:pt x="24" y="102"/>
                      <a:pt x="25" y="102"/>
                      <a:pt x="27" y="102"/>
                    </a:cubicBezTo>
                    <a:cubicBezTo>
                      <a:pt x="36" y="100"/>
                      <a:pt x="37" y="89"/>
                      <a:pt x="36" y="82"/>
                    </a:cubicBezTo>
                    <a:cubicBezTo>
                      <a:pt x="36" y="71"/>
                      <a:pt x="33" y="62"/>
                      <a:pt x="28" y="52"/>
                    </a:cubicBezTo>
                    <a:cubicBezTo>
                      <a:pt x="25" y="45"/>
                      <a:pt x="20" y="38"/>
                      <a:pt x="16" y="31"/>
                    </a:cubicBezTo>
                    <a:cubicBezTo>
                      <a:pt x="11" y="23"/>
                      <a:pt x="4" y="11"/>
                      <a:pt x="0"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cxnSp>
          <p:nvCxnSpPr>
            <p:cNvPr id="118" name="Connecteur droit 59"/>
            <p:cNvCxnSpPr/>
            <p:nvPr userDrawn="1"/>
          </p:nvCxnSpPr>
          <p:spPr>
            <a:xfrm flipH="1">
              <a:off x="231576" y="6165157"/>
              <a:ext cx="6878424" cy="7976"/>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grpSp>
      <p:grpSp>
        <p:nvGrpSpPr>
          <p:cNvPr id="52" name="Group 14">
            <a:extLst>
              <a:ext uri="{FF2B5EF4-FFF2-40B4-BE49-F238E27FC236}">
                <a16:creationId xmlns:a16="http://schemas.microsoft.com/office/drawing/2014/main" id="{1B9D57EA-940D-4704-8537-95EEAE4D733F}"/>
              </a:ext>
            </a:extLst>
          </p:cNvPr>
          <p:cNvGrpSpPr>
            <a:grpSpLocks noChangeAspect="1"/>
          </p:cNvGrpSpPr>
          <p:nvPr userDrawn="1"/>
        </p:nvGrpSpPr>
        <p:grpSpPr>
          <a:xfrm>
            <a:off x="457200" y="759518"/>
            <a:ext cx="2403629" cy="535882"/>
            <a:chOff x="728663" y="4465638"/>
            <a:chExt cx="5354637" cy="1193800"/>
          </a:xfrm>
        </p:grpSpPr>
        <p:sp>
          <p:nvSpPr>
            <p:cNvPr id="53" name="Freeform 11">
              <a:extLst>
                <a:ext uri="{FF2B5EF4-FFF2-40B4-BE49-F238E27FC236}">
                  <a16:creationId xmlns:a16="http://schemas.microsoft.com/office/drawing/2014/main" id="{759744FB-864F-47DD-883E-2A4FD2962BFF}"/>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12">
              <a:extLst>
                <a:ext uri="{FF2B5EF4-FFF2-40B4-BE49-F238E27FC236}">
                  <a16:creationId xmlns:a16="http://schemas.microsoft.com/office/drawing/2014/main" id="{61223A90-53CD-472A-B4D2-FE645D58C218}"/>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3">
              <a:extLst>
                <a:ext uri="{FF2B5EF4-FFF2-40B4-BE49-F238E27FC236}">
                  <a16:creationId xmlns:a16="http://schemas.microsoft.com/office/drawing/2014/main" id="{D4F9C541-924F-4E82-9556-F6832229B3C0}"/>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4">
              <a:extLst>
                <a:ext uri="{FF2B5EF4-FFF2-40B4-BE49-F238E27FC236}">
                  <a16:creationId xmlns:a16="http://schemas.microsoft.com/office/drawing/2014/main" id="{A061FE56-5643-49F2-BA5F-E4D3999BCF42}"/>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15">
              <a:extLst>
                <a:ext uri="{FF2B5EF4-FFF2-40B4-BE49-F238E27FC236}">
                  <a16:creationId xmlns:a16="http://schemas.microsoft.com/office/drawing/2014/main" id="{06790D79-FD9D-4494-9977-C4BFD565FC31}"/>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sp>
        <p:nvSpPr>
          <p:cNvPr id="6" name="Espace réservé du contenu 5"/>
          <p:cNvSpPr>
            <a:spLocks noGrp="1"/>
          </p:cNvSpPr>
          <p:nvPr>
            <p:ph sz="quarter" idx="10" hasCustomPrompt="1"/>
            <p:custDataLst>
              <p:tags r:id="rId2"/>
            </p:custDataLst>
          </p:nvPr>
        </p:nvSpPr>
        <p:spPr>
          <a:xfrm>
            <a:off x="344488" y="1376363"/>
            <a:ext cx="9217025" cy="4681537"/>
          </a:xfrm>
        </p:spPr>
        <p:txBody>
          <a:bodyPr/>
          <a:lstStyle>
            <a:lvl1pPr>
              <a:buClr>
                <a:schemeClr val="accent1"/>
              </a:buClr>
              <a:defRPr>
                <a:solidFill>
                  <a:schemeClr val="tx2"/>
                </a:solidFill>
              </a:defRPr>
            </a:lvl1pPr>
          </a:lstStyle>
          <a:p>
            <a:pPr lvl="0"/>
            <a:r>
              <a:rPr lang="en-US" noProof="0" dirty="0"/>
              <a:t>Click to edit Master text style</a:t>
            </a:r>
          </a:p>
        </p:txBody>
      </p:sp>
      <p:graphicFrame>
        <p:nvGraphicFramePr>
          <p:cNvPr id="7" name="Object 6"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6213" name="think-cell Slide" r:id="rId6" imgW="360" imgH="360" progId="">
                  <p:embed/>
                </p:oleObj>
              </mc:Choice>
              <mc:Fallback>
                <p:oleObj name="think-cell Slide" r:id="rId6" imgW="360" imgH="360" progId="">
                  <p:embed/>
                  <p:pic>
                    <p:nvPicPr>
                      <p:cNvPr id="0"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4"/>
            </p:custDataLst>
          </p:nvPr>
        </p:nvSpPr>
        <p:spPr/>
        <p:txBody>
          <a:bodyPr/>
          <a:lstStyle>
            <a:lvl1pPr>
              <a:defRPr>
                <a:solidFill>
                  <a:schemeClr val="tx1"/>
                </a:solidFill>
              </a:defRPr>
            </a:lvl1pPr>
          </a:lstStyle>
          <a:p>
            <a:r>
              <a:rPr lang="en-US" dirty="0"/>
              <a:t>Click to edit Master title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940" name="think-cell Slide" r:id="rId5" imgW="360" imgH="360" progId="">
                  <p:embed/>
                </p:oleObj>
              </mc:Choice>
              <mc:Fallback>
                <p:oleObj name="think-cell Slide" r:id="rId5" imgW="360" imgH="360" progId="">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02838" name="think-cell Slide" r:id="rId5" imgW="360" imgH="360" progId="">
                  <p:embed/>
                </p:oleObj>
              </mc:Choice>
              <mc:Fallback>
                <p:oleObj name="think-cell Slide" r:id="rId5" imgW="360" imgH="360" progId="">
                  <p:embed/>
                  <p:pic>
                    <p:nvPicPr>
                      <p:cNvPr id="0"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6" name="Rectangle 9"/>
          <p:cNvSpPr>
            <a:spLocks noChangeArrowheads="1"/>
          </p:cNvSpPr>
          <p:nvPr userDrawn="1">
            <p:custDataLst>
              <p:tags r:id="rId3"/>
            </p:custDataLst>
          </p:nvPr>
        </p:nvSpPr>
        <p:spPr bwMode="gray">
          <a:xfrm>
            <a:off x="1118328" y="2960456"/>
            <a:ext cx="6361457" cy="2437170"/>
          </a:xfrm>
          <a:custGeom>
            <a:avLst/>
            <a:gdLst>
              <a:gd name="connsiteX0" fmla="*/ 0 w 6570485"/>
              <a:gd name="connsiteY0" fmla="*/ 209028 h 2484583"/>
              <a:gd name="connsiteX1" fmla="*/ 61223 w 6570485"/>
              <a:gd name="connsiteY1" fmla="*/ 61223 h 2484583"/>
              <a:gd name="connsiteX2" fmla="*/ 209028 w 6570485"/>
              <a:gd name="connsiteY2" fmla="*/ 0 h 2484583"/>
              <a:gd name="connsiteX3" fmla="*/ 6361457 w 6570485"/>
              <a:gd name="connsiteY3" fmla="*/ 0 h 2484583"/>
              <a:gd name="connsiteX4" fmla="*/ 6509262 w 6570485"/>
              <a:gd name="connsiteY4" fmla="*/ 61223 h 2484583"/>
              <a:gd name="connsiteX5" fmla="*/ 6570485 w 6570485"/>
              <a:gd name="connsiteY5" fmla="*/ 209028 h 2484583"/>
              <a:gd name="connsiteX6" fmla="*/ 6570485 w 6570485"/>
              <a:gd name="connsiteY6" fmla="*/ 2275555 h 2484583"/>
              <a:gd name="connsiteX7" fmla="*/ 6509262 w 6570485"/>
              <a:gd name="connsiteY7" fmla="*/ 2423360 h 2484583"/>
              <a:gd name="connsiteX8" fmla="*/ 6361457 w 6570485"/>
              <a:gd name="connsiteY8" fmla="*/ 2484583 h 2484583"/>
              <a:gd name="connsiteX9" fmla="*/ 209028 w 6570485"/>
              <a:gd name="connsiteY9" fmla="*/ 2484583 h 2484583"/>
              <a:gd name="connsiteX10" fmla="*/ 61223 w 6570485"/>
              <a:gd name="connsiteY10" fmla="*/ 2423360 h 2484583"/>
              <a:gd name="connsiteX11" fmla="*/ 0 w 6570485"/>
              <a:gd name="connsiteY11" fmla="*/ 2275555 h 2484583"/>
              <a:gd name="connsiteX12" fmla="*/ 0 w 6570485"/>
              <a:gd name="connsiteY12" fmla="*/ 209028 h 2484583"/>
              <a:gd name="connsiteX0" fmla="*/ 6509262 w 6600702"/>
              <a:gd name="connsiteY0" fmla="*/ 61223 h 2484583"/>
              <a:gd name="connsiteX1" fmla="*/ 6570485 w 6600702"/>
              <a:gd name="connsiteY1" fmla="*/ 209028 h 2484583"/>
              <a:gd name="connsiteX2" fmla="*/ 6570485 w 6600702"/>
              <a:gd name="connsiteY2" fmla="*/ 2275555 h 2484583"/>
              <a:gd name="connsiteX3" fmla="*/ 6509262 w 6600702"/>
              <a:gd name="connsiteY3" fmla="*/ 2423360 h 2484583"/>
              <a:gd name="connsiteX4" fmla="*/ 6361457 w 6600702"/>
              <a:gd name="connsiteY4" fmla="*/ 2484583 h 2484583"/>
              <a:gd name="connsiteX5" fmla="*/ 209028 w 6600702"/>
              <a:gd name="connsiteY5" fmla="*/ 2484583 h 2484583"/>
              <a:gd name="connsiteX6" fmla="*/ 61223 w 6600702"/>
              <a:gd name="connsiteY6" fmla="*/ 2423360 h 2484583"/>
              <a:gd name="connsiteX7" fmla="*/ 0 w 6600702"/>
              <a:gd name="connsiteY7" fmla="*/ 2275555 h 2484583"/>
              <a:gd name="connsiteX8" fmla="*/ 0 w 6600702"/>
              <a:gd name="connsiteY8" fmla="*/ 209028 h 2484583"/>
              <a:gd name="connsiteX9" fmla="*/ 61223 w 6600702"/>
              <a:gd name="connsiteY9" fmla="*/ 61223 h 2484583"/>
              <a:gd name="connsiteX10" fmla="*/ 209028 w 6600702"/>
              <a:gd name="connsiteY10" fmla="*/ 0 h 2484583"/>
              <a:gd name="connsiteX11" fmla="*/ 6361457 w 6600702"/>
              <a:gd name="connsiteY11" fmla="*/ 0 h 2484583"/>
              <a:gd name="connsiteX12" fmla="*/ 6600702 w 6600702"/>
              <a:gd name="connsiteY12" fmla="*/ 152663 h 2484583"/>
              <a:gd name="connsiteX0" fmla="*/ 6509262 w 6570485"/>
              <a:gd name="connsiteY0" fmla="*/ 61223 h 2484583"/>
              <a:gd name="connsiteX1" fmla="*/ 6570485 w 6570485"/>
              <a:gd name="connsiteY1" fmla="*/ 209028 h 2484583"/>
              <a:gd name="connsiteX2" fmla="*/ 6570485 w 6570485"/>
              <a:gd name="connsiteY2" fmla="*/ 2275555 h 2484583"/>
              <a:gd name="connsiteX3" fmla="*/ 6509262 w 6570485"/>
              <a:gd name="connsiteY3" fmla="*/ 2423360 h 2484583"/>
              <a:gd name="connsiteX4" fmla="*/ 6361457 w 6570485"/>
              <a:gd name="connsiteY4" fmla="*/ 2484583 h 2484583"/>
              <a:gd name="connsiteX5" fmla="*/ 209028 w 6570485"/>
              <a:gd name="connsiteY5" fmla="*/ 2484583 h 2484583"/>
              <a:gd name="connsiteX6" fmla="*/ 61223 w 6570485"/>
              <a:gd name="connsiteY6" fmla="*/ 2423360 h 2484583"/>
              <a:gd name="connsiteX7" fmla="*/ 0 w 6570485"/>
              <a:gd name="connsiteY7" fmla="*/ 2275555 h 2484583"/>
              <a:gd name="connsiteX8" fmla="*/ 0 w 6570485"/>
              <a:gd name="connsiteY8" fmla="*/ 209028 h 2484583"/>
              <a:gd name="connsiteX9" fmla="*/ 61223 w 6570485"/>
              <a:gd name="connsiteY9" fmla="*/ 61223 h 2484583"/>
              <a:gd name="connsiteX10" fmla="*/ 209028 w 6570485"/>
              <a:gd name="connsiteY10" fmla="*/ 0 h 2484583"/>
              <a:gd name="connsiteX11" fmla="*/ 6361457 w 6570485"/>
              <a:gd name="connsiteY11" fmla="*/ 0 h 2484583"/>
              <a:gd name="connsiteX0" fmla="*/ 6570485 w 6570485"/>
              <a:gd name="connsiteY0" fmla="*/ 209028 h 2484583"/>
              <a:gd name="connsiteX1" fmla="*/ 6570485 w 6570485"/>
              <a:gd name="connsiteY1" fmla="*/ 2275555 h 2484583"/>
              <a:gd name="connsiteX2" fmla="*/ 6509262 w 6570485"/>
              <a:gd name="connsiteY2" fmla="*/ 2423360 h 2484583"/>
              <a:gd name="connsiteX3" fmla="*/ 6361457 w 6570485"/>
              <a:gd name="connsiteY3" fmla="*/ 2484583 h 2484583"/>
              <a:gd name="connsiteX4" fmla="*/ 209028 w 6570485"/>
              <a:gd name="connsiteY4" fmla="*/ 2484583 h 2484583"/>
              <a:gd name="connsiteX5" fmla="*/ 61223 w 6570485"/>
              <a:gd name="connsiteY5" fmla="*/ 2423360 h 2484583"/>
              <a:gd name="connsiteX6" fmla="*/ 0 w 6570485"/>
              <a:gd name="connsiteY6" fmla="*/ 2275555 h 2484583"/>
              <a:gd name="connsiteX7" fmla="*/ 0 w 6570485"/>
              <a:gd name="connsiteY7" fmla="*/ 209028 h 2484583"/>
              <a:gd name="connsiteX8" fmla="*/ 61223 w 6570485"/>
              <a:gd name="connsiteY8" fmla="*/ 61223 h 2484583"/>
              <a:gd name="connsiteX9" fmla="*/ 209028 w 6570485"/>
              <a:gd name="connsiteY9" fmla="*/ 0 h 2484583"/>
              <a:gd name="connsiteX10" fmla="*/ 6361457 w 6570485"/>
              <a:gd name="connsiteY10" fmla="*/ 0 h 2484583"/>
              <a:gd name="connsiteX0" fmla="*/ 6570485 w 6570485"/>
              <a:gd name="connsiteY0" fmla="*/ 2275555 h 2484583"/>
              <a:gd name="connsiteX1" fmla="*/ 6509262 w 6570485"/>
              <a:gd name="connsiteY1" fmla="*/ 2423360 h 2484583"/>
              <a:gd name="connsiteX2" fmla="*/ 6361457 w 6570485"/>
              <a:gd name="connsiteY2" fmla="*/ 2484583 h 2484583"/>
              <a:gd name="connsiteX3" fmla="*/ 209028 w 6570485"/>
              <a:gd name="connsiteY3" fmla="*/ 2484583 h 2484583"/>
              <a:gd name="connsiteX4" fmla="*/ 61223 w 6570485"/>
              <a:gd name="connsiteY4" fmla="*/ 2423360 h 2484583"/>
              <a:gd name="connsiteX5" fmla="*/ 0 w 6570485"/>
              <a:gd name="connsiteY5" fmla="*/ 2275555 h 2484583"/>
              <a:gd name="connsiteX6" fmla="*/ 0 w 6570485"/>
              <a:gd name="connsiteY6" fmla="*/ 209028 h 2484583"/>
              <a:gd name="connsiteX7" fmla="*/ 61223 w 6570485"/>
              <a:gd name="connsiteY7" fmla="*/ 61223 h 2484583"/>
              <a:gd name="connsiteX8" fmla="*/ 209028 w 6570485"/>
              <a:gd name="connsiteY8" fmla="*/ 0 h 2484583"/>
              <a:gd name="connsiteX9" fmla="*/ 6361457 w 6570485"/>
              <a:gd name="connsiteY9" fmla="*/ 0 h 2484583"/>
              <a:gd name="connsiteX0" fmla="*/ 6509262 w 6509262"/>
              <a:gd name="connsiteY0" fmla="*/ 2423360 h 2484583"/>
              <a:gd name="connsiteX1" fmla="*/ 6361457 w 6509262"/>
              <a:gd name="connsiteY1" fmla="*/ 2484583 h 2484583"/>
              <a:gd name="connsiteX2" fmla="*/ 209028 w 6509262"/>
              <a:gd name="connsiteY2" fmla="*/ 2484583 h 2484583"/>
              <a:gd name="connsiteX3" fmla="*/ 61223 w 6509262"/>
              <a:gd name="connsiteY3" fmla="*/ 2423360 h 2484583"/>
              <a:gd name="connsiteX4" fmla="*/ 0 w 6509262"/>
              <a:gd name="connsiteY4" fmla="*/ 2275555 h 2484583"/>
              <a:gd name="connsiteX5" fmla="*/ 0 w 6509262"/>
              <a:gd name="connsiteY5" fmla="*/ 209028 h 2484583"/>
              <a:gd name="connsiteX6" fmla="*/ 61223 w 6509262"/>
              <a:gd name="connsiteY6" fmla="*/ 61223 h 2484583"/>
              <a:gd name="connsiteX7" fmla="*/ 209028 w 6509262"/>
              <a:gd name="connsiteY7" fmla="*/ 0 h 2484583"/>
              <a:gd name="connsiteX8" fmla="*/ 6361457 w 6509262"/>
              <a:gd name="connsiteY8" fmla="*/ 0 h 2484583"/>
              <a:gd name="connsiteX0" fmla="*/ 6361457 w 6361457"/>
              <a:gd name="connsiteY0" fmla="*/ 2484583 h 2484583"/>
              <a:gd name="connsiteX1" fmla="*/ 209028 w 6361457"/>
              <a:gd name="connsiteY1" fmla="*/ 2484583 h 2484583"/>
              <a:gd name="connsiteX2" fmla="*/ 61223 w 6361457"/>
              <a:gd name="connsiteY2" fmla="*/ 2423360 h 2484583"/>
              <a:gd name="connsiteX3" fmla="*/ 0 w 6361457"/>
              <a:gd name="connsiteY3" fmla="*/ 2275555 h 2484583"/>
              <a:gd name="connsiteX4" fmla="*/ 0 w 6361457"/>
              <a:gd name="connsiteY4" fmla="*/ 209028 h 2484583"/>
              <a:gd name="connsiteX5" fmla="*/ 61223 w 6361457"/>
              <a:gd name="connsiteY5" fmla="*/ 61223 h 2484583"/>
              <a:gd name="connsiteX6" fmla="*/ 209028 w 6361457"/>
              <a:gd name="connsiteY6" fmla="*/ 0 h 2484583"/>
              <a:gd name="connsiteX7" fmla="*/ 6361457 w 6361457"/>
              <a:gd name="connsiteY7" fmla="*/ 0 h 2484583"/>
              <a:gd name="connsiteX0" fmla="*/ 6361457 w 6361457"/>
              <a:gd name="connsiteY0" fmla="*/ 2484583 h 2484583"/>
              <a:gd name="connsiteX1" fmla="*/ 209028 w 6361457"/>
              <a:gd name="connsiteY1" fmla="*/ 2484583 h 2484583"/>
              <a:gd name="connsiteX2" fmla="*/ 61223 w 6361457"/>
              <a:gd name="connsiteY2" fmla="*/ 2423360 h 2484583"/>
              <a:gd name="connsiteX3" fmla="*/ 0 w 6361457"/>
              <a:gd name="connsiteY3" fmla="*/ 2275555 h 2484583"/>
              <a:gd name="connsiteX4" fmla="*/ 0 w 6361457"/>
              <a:gd name="connsiteY4" fmla="*/ 209028 h 2484583"/>
              <a:gd name="connsiteX5" fmla="*/ 61223 w 6361457"/>
              <a:gd name="connsiteY5" fmla="*/ 61223 h 2484583"/>
              <a:gd name="connsiteX6" fmla="*/ 209028 w 6361457"/>
              <a:gd name="connsiteY6" fmla="*/ 0 h 2484583"/>
              <a:gd name="connsiteX0" fmla="*/ 6361457 w 6361457"/>
              <a:gd name="connsiteY0" fmla="*/ 2423360 h 2423360"/>
              <a:gd name="connsiteX1" fmla="*/ 209028 w 6361457"/>
              <a:gd name="connsiteY1" fmla="*/ 2423360 h 2423360"/>
              <a:gd name="connsiteX2" fmla="*/ 61223 w 6361457"/>
              <a:gd name="connsiteY2" fmla="*/ 2362137 h 2423360"/>
              <a:gd name="connsiteX3" fmla="*/ 0 w 6361457"/>
              <a:gd name="connsiteY3" fmla="*/ 2214332 h 2423360"/>
              <a:gd name="connsiteX4" fmla="*/ 0 w 6361457"/>
              <a:gd name="connsiteY4" fmla="*/ 147805 h 2423360"/>
              <a:gd name="connsiteX5" fmla="*/ 61223 w 6361457"/>
              <a:gd name="connsiteY5" fmla="*/ 0 h 2423360"/>
              <a:gd name="connsiteX0" fmla="*/ 6361457 w 6361457"/>
              <a:gd name="connsiteY0" fmla="*/ 2275555 h 2275555"/>
              <a:gd name="connsiteX1" fmla="*/ 209028 w 6361457"/>
              <a:gd name="connsiteY1" fmla="*/ 2275555 h 2275555"/>
              <a:gd name="connsiteX2" fmla="*/ 61223 w 6361457"/>
              <a:gd name="connsiteY2" fmla="*/ 2214332 h 2275555"/>
              <a:gd name="connsiteX3" fmla="*/ 0 w 6361457"/>
              <a:gd name="connsiteY3" fmla="*/ 2066527 h 2275555"/>
              <a:gd name="connsiteX4" fmla="*/ 0 w 6361457"/>
              <a:gd name="connsiteY4" fmla="*/ 0 h 2275555"/>
              <a:gd name="connsiteX0" fmla="*/ 6361457 w 6361457"/>
              <a:gd name="connsiteY0" fmla="*/ 2401166 h 2401166"/>
              <a:gd name="connsiteX1" fmla="*/ 209028 w 6361457"/>
              <a:gd name="connsiteY1" fmla="*/ 2401166 h 2401166"/>
              <a:gd name="connsiteX2" fmla="*/ 61223 w 6361457"/>
              <a:gd name="connsiteY2" fmla="*/ 2339943 h 2401166"/>
              <a:gd name="connsiteX3" fmla="*/ 0 w 6361457"/>
              <a:gd name="connsiteY3" fmla="*/ 2192138 h 2401166"/>
              <a:gd name="connsiteX4" fmla="*/ 0 w 6361457"/>
              <a:gd name="connsiteY4" fmla="*/ 0 h 2401166"/>
              <a:gd name="connsiteX0" fmla="*/ 6361457 w 6361457"/>
              <a:gd name="connsiteY0" fmla="*/ 2437170 h 2437170"/>
              <a:gd name="connsiteX1" fmla="*/ 209028 w 6361457"/>
              <a:gd name="connsiteY1" fmla="*/ 2437170 h 2437170"/>
              <a:gd name="connsiteX2" fmla="*/ 61223 w 6361457"/>
              <a:gd name="connsiteY2" fmla="*/ 2375947 h 2437170"/>
              <a:gd name="connsiteX3" fmla="*/ 0 w 6361457"/>
              <a:gd name="connsiteY3" fmla="*/ 2228142 h 2437170"/>
              <a:gd name="connsiteX4" fmla="*/ 0 w 6361457"/>
              <a:gd name="connsiteY4" fmla="*/ 0 h 2437170"/>
              <a:gd name="connsiteX0" fmla="*/ 6361457 w 6361457"/>
              <a:gd name="connsiteY0" fmla="*/ 2509178 h 2509178"/>
              <a:gd name="connsiteX1" fmla="*/ 209028 w 6361457"/>
              <a:gd name="connsiteY1" fmla="*/ 2509178 h 2509178"/>
              <a:gd name="connsiteX2" fmla="*/ 61223 w 6361457"/>
              <a:gd name="connsiteY2" fmla="*/ 2447955 h 2509178"/>
              <a:gd name="connsiteX3" fmla="*/ 0 w 6361457"/>
              <a:gd name="connsiteY3" fmla="*/ 2300150 h 2509178"/>
              <a:gd name="connsiteX4" fmla="*/ 0 w 6361457"/>
              <a:gd name="connsiteY4" fmla="*/ 0 h 2509178"/>
              <a:gd name="connsiteX0" fmla="*/ 6361457 w 6361457"/>
              <a:gd name="connsiteY0" fmla="*/ 2437170 h 2437170"/>
              <a:gd name="connsiteX1" fmla="*/ 209028 w 6361457"/>
              <a:gd name="connsiteY1" fmla="*/ 2437170 h 2437170"/>
              <a:gd name="connsiteX2" fmla="*/ 61223 w 6361457"/>
              <a:gd name="connsiteY2" fmla="*/ 2375947 h 2437170"/>
              <a:gd name="connsiteX3" fmla="*/ 0 w 6361457"/>
              <a:gd name="connsiteY3" fmla="*/ 2228142 h 2437170"/>
              <a:gd name="connsiteX4" fmla="*/ 0 w 6361457"/>
              <a:gd name="connsiteY4" fmla="*/ 0 h 2437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457" h="2437170">
                <a:moveTo>
                  <a:pt x="6361457" y="2437170"/>
                </a:moveTo>
                <a:lnTo>
                  <a:pt x="209028" y="2437170"/>
                </a:lnTo>
                <a:cubicBezTo>
                  <a:pt x="153590" y="2437170"/>
                  <a:pt x="100423" y="2415147"/>
                  <a:pt x="61223" y="2375947"/>
                </a:cubicBezTo>
                <a:cubicBezTo>
                  <a:pt x="22023" y="2336747"/>
                  <a:pt x="0" y="2283579"/>
                  <a:pt x="0" y="2228142"/>
                </a:cubicBezTo>
                <a:lnTo>
                  <a:pt x="0" y="0"/>
                </a:lnTo>
              </a:path>
            </a:pathLst>
          </a:custGeom>
          <a:noFill/>
          <a:ln w="19050" cap="flat" cmpd="sng" algn="ctr">
            <a:gradFill flip="none" rotWithShape="1">
              <a:gsLst>
                <a:gs pos="0">
                  <a:schemeClr val="accent6"/>
                </a:gs>
                <a:gs pos="100000">
                  <a:schemeClr val="accent6">
                    <a:lumMod val="40000"/>
                    <a:lumOff val="60000"/>
                  </a:schemeClr>
                </a:gs>
              </a:gsLst>
              <a:lin ang="240000" scaled="0"/>
              <a:tileRect/>
            </a:gradFill>
            <a:prstDash val="solid"/>
            <a:round/>
          </a:ln>
          <a:effectLst/>
        </p:spPr>
        <p:txBody>
          <a:bodyPr wrap="square" lIns="365760" tIns="0" rIns="91440" bIns="143964" rtlCol="0" anchor="t"/>
          <a:lstStyle/>
          <a:p>
            <a:pPr marL="0" marR="0" indent="0" algn="just" defTabSz="1042702" rtl="0" eaLnBrk="1" fontAlgn="auto" latinLnBrk="0" hangingPunct="1">
              <a:lnSpc>
                <a:spcPct val="100000"/>
              </a:lnSpc>
              <a:spcBef>
                <a:spcPts val="0"/>
              </a:spcBef>
              <a:spcAft>
                <a:spcPts val="1200"/>
              </a:spcAft>
              <a:buClrTx/>
              <a:buSzTx/>
              <a:buFontTx/>
              <a:buNone/>
              <a:tabLst/>
              <a:defRPr/>
            </a:pPr>
            <a:r>
              <a:rPr lang="en-US" sz="1600" b="1" dirty="0">
                <a:solidFill>
                  <a:schemeClr val="bg1"/>
                </a:solidFill>
                <a:latin typeface="Arial"/>
                <a:cs typeface="Arial"/>
              </a:rPr>
              <a:t>About Capgemini</a:t>
            </a:r>
            <a:endParaRPr lang="en-US" sz="900" dirty="0">
              <a:solidFill>
                <a:schemeClr val="bg1"/>
              </a:solidFill>
              <a:latin typeface="Arial" pitchFamily="34" charset="0"/>
              <a:cs typeface="Arial" pitchFamily="34" charset="0"/>
            </a:endParaRPr>
          </a:p>
          <a:p>
            <a:pPr marL="0" indent="0" algn="just">
              <a:spcBef>
                <a:spcPts val="0"/>
              </a:spcBef>
              <a:spcAft>
                <a:spcPts val="600"/>
              </a:spcAft>
            </a:pPr>
            <a:r>
              <a:rPr lang="en-US" sz="900" dirty="0">
                <a:solidFill>
                  <a:schemeClr val="bg1"/>
                </a:solidFill>
                <a:latin typeface="Arial" pitchFamily="34" charset="0"/>
                <a:cs typeface="Arial" pitchFamily="34" charset="0"/>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u="sng" dirty="0">
                <a:solidFill>
                  <a:schemeClr val="bg1"/>
                </a:solidFill>
                <a:latin typeface="Arial" pitchFamily="34" charset="0"/>
                <a:cs typeface="Arial" pitchFamily="34" charset="0"/>
              </a:rPr>
              <a:t>the Collaborative Business Experience™</a:t>
            </a:r>
            <a:r>
              <a:rPr lang="en-US" sz="900" dirty="0">
                <a:solidFill>
                  <a:schemeClr val="bg1"/>
                </a:solidFill>
                <a:latin typeface="Arial" pitchFamily="34" charset="0"/>
                <a:cs typeface="Arial" pitchFamily="34" charset="0"/>
              </a:rPr>
              <a:t>, and draws on </a:t>
            </a:r>
            <a:r>
              <a:rPr lang="en-US" sz="900" u="sng" dirty="0">
                <a:solidFill>
                  <a:schemeClr val="bg1"/>
                </a:solidFill>
                <a:latin typeface="Arial" pitchFamily="34" charset="0"/>
                <a:cs typeface="Arial" pitchFamily="34" charset="0"/>
              </a:rPr>
              <a:t>Rightshore</a:t>
            </a:r>
            <a:r>
              <a:rPr lang="en-US" sz="900" u="sng" baseline="30000" dirty="0">
                <a:solidFill>
                  <a:schemeClr val="bg1"/>
                </a:solidFill>
                <a:latin typeface="Arial" pitchFamily="34" charset="0"/>
                <a:cs typeface="Arial" pitchFamily="34" charset="0"/>
              </a:rPr>
              <a:t>®</a:t>
            </a:r>
            <a:r>
              <a:rPr lang="en-US" sz="900" dirty="0">
                <a:solidFill>
                  <a:schemeClr val="bg1"/>
                </a:solidFill>
                <a:latin typeface="Arial" pitchFamily="34" charset="0"/>
                <a:cs typeface="Arial" pitchFamily="34" charset="0"/>
              </a:rPr>
              <a:t>, its worldwide delivery model.</a:t>
            </a:r>
          </a:p>
          <a:p>
            <a:pPr marL="0" indent="0" algn="just">
              <a:spcBef>
                <a:spcPts val="0"/>
              </a:spcBef>
              <a:spcAft>
                <a:spcPts val="300"/>
              </a:spcAft>
            </a:pPr>
            <a:r>
              <a:rPr lang="en-US" sz="900" dirty="0">
                <a:solidFill>
                  <a:schemeClr val="bg1"/>
                </a:solidFill>
                <a:latin typeface="Arial" pitchFamily="34" charset="0"/>
                <a:cs typeface="Arial" pitchFamily="34" charset="0"/>
              </a:rPr>
              <a:t>Capgemini’s Global Utilities Sector serves the top Utilities worldwide and draws on a network of more than 8,900 dedicated sector consultants. As a leader in smart grid and advanced metering infrastructure solutions, Capgemini’s Smart Energy Services is helping Utility customers throughout the world. Our integrated Digital Utilities Transformation framework empowers utilities to drastically improve their customer experience, operating and business models through disruptive technologies.</a:t>
            </a:r>
          </a:p>
          <a:p>
            <a:pPr marL="0" indent="0" algn="l">
              <a:spcAft>
                <a:spcPts val="327"/>
              </a:spcAft>
            </a:pPr>
            <a:r>
              <a:rPr lang="en-US" sz="900" dirty="0">
                <a:solidFill>
                  <a:schemeClr val="bg1"/>
                </a:solidFill>
                <a:latin typeface="Arial" pitchFamily="34" charset="0"/>
                <a:cs typeface="Arial" pitchFamily="34" charset="0"/>
              </a:rPr>
              <a:t>More on industry specific solutions is available at </a:t>
            </a:r>
            <a:r>
              <a:rPr lang="en-US" sz="900" b="1" u="sng" dirty="0">
                <a:solidFill>
                  <a:schemeClr val="bg1"/>
                </a:solidFill>
                <a:latin typeface="Arial" pitchFamily="34" charset="0"/>
                <a:cs typeface="Arial" pitchFamily="34" charset="0"/>
              </a:rPr>
              <a:t>www.capgemini.com/utilities</a:t>
            </a:r>
            <a:r>
              <a:rPr lang="en-US" sz="900" dirty="0">
                <a:solidFill>
                  <a:schemeClr val="bg1"/>
                </a:solidFill>
                <a:latin typeface="Arial" pitchFamily="34" charset="0"/>
                <a:cs typeface="Arial" pitchFamily="34" charset="0"/>
              </a:rPr>
              <a:t>.</a:t>
            </a:r>
          </a:p>
        </p:txBody>
      </p:sp>
      <p:pic>
        <p:nvPicPr>
          <p:cNvPr id="335" name="Image 334" descr="CBE_Label_ppt.png"/>
          <p:cNvPicPr>
            <a:picLocks noChangeAspect="1"/>
          </p:cNvPicPr>
          <p:nvPr userDrawn="1"/>
        </p:nvPicPr>
        <p:blipFill>
          <a:blip r:embed="rId7" cstate="print"/>
          <a:stretch>
            <a:fillRect/>
          </a:stretch>
        </p:blipFill>
        <p:spPr>
          <a:xfrm>
            <a:off x="849272" y="2797337"/>
            <a:ext cx="518400" cy="521329"/>
          </a:xfrm>
          <a:prstGeom prst="rect">
            <a:avLst/>
          </a:prstGeom>
        </p:spPr>
      </p:pic>
      <p:sp>
        <p:nvSpPr>
          <p:cNvPr id="209" name="Rectangle 208">
            <a:hlinkClick r:id="rId8"/>
          </p:cNvPr>
          <p:cNvSpPr/>
          <p:nvPr userDrawn="1"/>
        </p:nvSpPr>
        <p:spPr>
          <a:xfrm>
            <a:off x="1962152" y="4049413"/>
            <a:ext cx="647447" cy="155065"/>
          </a:xfrm>
          <a:prstGeom prst="rect">
            <a:avLst/>
          </a:prstGeom>
          <a:solidFill>
            <a:srgbClr val="ED771A">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0" name="Rectangle 209">
            <a:hlinkClick r:id="rId9"/>
          </p:cNvPr>
          <p:cNvSpPr/>
          <p:nvPr userDrawn="1"/>
        </p:nvSpPr>
        <p:spPr>
          <a:xfrm>
            <a:off x="4953000" y="3912328"/>
            <a:ext cx="2163040" cy="159319"/>
          </a:xfrm>
          <a:prstGeom prst="rect">
            <a:avLst/>
          </a:prstGeom>
          <a:solidFill>
            <a:srgbClr val="ED771A">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1" name="Rectangle 210">
            <a:hlinkClick r:id="rId10"/>
          </p:cNvPr>
          <p:cNvSpPr/>
          <p:nvPr userDrawn="1"/>
        </p:nvSpPr>
        <p:spPr>
          <a:xfrm>
            <a:off x="3984828" y="4943723"/>
            <a:ext cx="1591796" cy="183449"/>
          </a:xfrm>
          <a:prstGeom prst="rect">
            <a:avLst/>
          </a:prstGeom>
          <a:solidFill>
            <a:srgbClr val="ED771A">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57756" rtl="0" eaLnBrk="1" latinLnBrk="0" hangingPunct="1"/>
            <a:endParaRPr lang="en-GB" sz="1900" kern="1200" dirty="0">
              <a:solidFill>
                <a:schemeClr val="lt1"/>
              </a:solidFill>
              <a:latin typeface="+mn-lt"/>
              <a:ea typeface="+mn-ea"/>
              <a:cs typeface="+mn-cs"/>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4828446"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noAutofit/>
          </a:bodyPr>
          <a:lstStyle/>
          <a:p>
            <a:endParaRPr lang="en-US" sz="1544"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045466" y="2404111"/>
            <a:ext cx="597198"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44" dirty="0"/>
            </a:p>
          </p:txBody>
        </p:sp>
      </p:grpSp>
      <p:sp>
        <p:nvSpPr>
          <p:cNvPr id="14" name="Rectangle 13"/>
          <p:cNvSpPr/>
          <p:nvPr userDrawn="1"/>
        </p:nvSpPr>
        <p:spPr>
          <a:xfrm>
            <a:off x="5310650" y="2886346"/>
            <a:ext cx="398086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731"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a:t>
            </a:r>
            <a:r>
              <a:rPr lang="en-US" sz="731" kern="1200"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apgemini</a:t>
            </a:r>
            <a:r>
              <a:rPr lang="en-US" sz="731"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s at the forefront of innovation to address the entire breadth of clients’ opportunities in the evolving world of cloud, digital and platforms. Building on its strong 50-year heritage and deep industry-specific expertise, </a:t>
            </a:r>
            <a:r>
              <a:rPr lang="en-US" sz="731" kern="1200"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apgemini</a:t>
            </a:r>
            <a:r>
              <a:rPr lang="en-US" sz="731"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enables organizations to realize their business ambitions through an array of services from strategy to operations. </a:t>
            </a:r>
            <a:r>
              <a:rPr lang="en-US" sz="731" kern="1200"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Capgemini</a:t>
            </a:r>
            <a:r>
              <a:rPr lang="en-US" sz="731"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is driven by the conviction that the business value of technology comes from and through people. It is a multicultural company of 200,000 team members in over 40 countries. The Group reported 2017 global revenues of EUR 12.8 billion</a:t>
            </a:r>
            <a:r>
              <a:rPr lang="en-US" sz="731" kern="1200" dirty="0">
                <a:solidFill>
                  <a:schemeClr val="tx1"/>
                </a:solidFill>
                <a:effectLst/>
                <a:latin typeface="+mn-lt"/>
                <a:ea typeface="+mn-ea"/>
                <a:cs typeface="+mn-cs"/>
              </a:rPr>
              <a:t>.</a:t>
            </a:r>
          </a:p>
        </p:txBody>
      </p:sp>
      <p:sp>
        <p:nvSpPr>
          <p:cNvPr id="15" name="Rectangle 14"/>
          <p:cNvSpPr/>
          <p:nvPr userDrawn="1"/>
        </p:nvSpPr>
        <p:spPr>
          <a:xfrm>
            <a:off x="5310649" y="2507083"/>
            <a:ext cx="1803718" cy="1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625"/>
              </a:lnSpc>
            </a:pPr>
            <a:r>
              <a:rPr lang="en-US" sz="1138" dirty="0">
                <a:solidFill>
                  <a:schemeClr val="accent1"/>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6" name="Rectangle 15"/>
          <p:cNvSpPr/>
          <p:nvPr userDrawn="1"/>
        </p:nvSpPr>
        <p:spPr>
          <a:xfrm>
            <a:off x="5310649" y="4235826"/>
            <a:ext cx="1671638"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75"/>
              </a:lnSpc>
              <a:spcAft>
                <a:spcPts val="488"/>
              </a:spcAft>
            </a:pPr>
            <a:r>
              <a:rPr lang="en-US" sz="731"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975"/>
              </a:lnSpc>
            </a:pPr>
            <a:r>
              <a:rPr lang="en-US" sz="1138"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658204" y="3979258"/>
            <a:ext cx="270721"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969698" y="3979258"/>
            <a:ext cx="270721"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281192" y="3979258"/>
            <a:ext cx="270721"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592685" y="3979258"/>
            <a:ext cx="270721"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346710" y="3979258"/>
            <a:ext cx="270721" cy="333195"/>
          </a:xfrm>
          <a:prstGeom prst="rect">
            <a:avLst/>
          </a:prstGeom>
          <a:noFill/>
        </p:spPr>
      </p:pic>
      <p:sp>
        <p:nvSpPr>
          <p:cNvPr id="23" name="Rectangle 22"/>
          <p:cNvSpPr/>
          <p:nvPr userDrawn="1"/>
        </p:nvSpPr>
        <p:spPr>
          <a:xfrm>
            <a:off x="346710" y="5846099"/>
            <a:ext cx="3411379" cy="364202"/>
          </a:xfrm>
          <a:prstGeom prst="rect">
            <a:avLst/>
          </a:prstGeom>
        </p:spPr>
        <p:txBody>
          <a:bodyPr wrap="square" lIns="0" tIns="0" rIns="0" bIns="0" anchor="b" anchorCtr="0">
            <a:spAutoFit/>
          </a:bodyPr>
          <a:lstStyle/>
          <a:p>
            <a:pPr>
              <a:spcAft>
                <a:spcPts val="488"/>
              </a:spcAft>
            </a:pPr>
            <a:r>
              <a:rPr lang="en-US" sz="650" noProof="0" dirty="0">
                <a:solidFill>
                  <a:schemeClr val="bg1"/>
                </a:solidFill>
                <a:latin typeface="+mn-lt"/>
                <a:cs typeface="Arial"/>
              </a:rPr>
              <a:t>This message contains information that may be privileged or confidential and is the property of the Capgemini Group.</a:t>
            </a:r>
          </a:p>
          <a:p>
            <a:pPr>
              <a:spcAft>
                <a:spcPts val="488"/>
              </a:spcAft>
            </a:pPr>
            <a:r>
              <a:rPr lang="en-US" sz="650" noProof="0" dirty="0">
                <a:solidFill>
                  <a:schemeClr val="bg1"/>
                </a:solidFill>
                <a:latin typeface="+mn-lt"/>
                <a:cs typeface="Arial"/>
              </a:rPr>
              <a:t>Copyright © 2018 Capgemini. All rights reserved.</a:t>
            </a:r>
          </a:p>
        </p:txBody>
      </p:sp>
      <p:sp>
        <p:nvSpPr>
          <p:cNvPr id="25" name="Rectangle 24">
            <a:hlinkClick r:id="rId12"/>
          </p:cNvPr>
          <p:cNvSpPr/>
          <p:nvPr userDrawn="1"/>
        </p:nvSpPr>
        <p:spPr>
          <a:xfrm>
            <a:off x="6085545" y="3812094"/>
            <a:ext cx="1898072"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dirty="0"/>
          </a:p>
        </p:txBody>
      </p:sp>
      <p:sp>
        <p:nvSpPr>
          <p:cNvPr id="26" name="Rectangle 25">
            <a:hlinkClick r:id="rId13"/>
          </p:cNvPr>
          <p:cNvSpPr/>
          <p:nvPr userDrawn="1"/>
        </p:nvSpPr>
        <p:spPr>
          <a:xfrm>
            <a:off x="8718828" y="3812094"/>
            <a:ext cx="572691"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44" dirty="0"/>
          </a:p>
        </p:txBody>
      </p:sp>
      <p:sp>
        <p:nvSpPr>
          <p:cNvPr id="24" name="ZoneTexte 23"/>
          <p:cNvSpPr txBox="1"/>
          <p:nvPr userDrawn="1"/>
        </p:nvSpPr>
        <p:spPr>
          <a:xfrm>
            <a:off x="340645" y="4381708"/>
            <a:ext cx="1513235" cy="242374"/>
          </a:xfrm>
          <a:prstGeom prst="rect">
            <a:avLst/>
          </a:prstGeom>
          <a:noFill/>
        </p:spPr>
        <p:txBody>
          <a:bodyPr wrap="none" lIns="0" rIns="0" rtlCol="0">
            <a:spAutoFit/>
          </a:bodyPr>
          <a:lstStyle/>
          <a:p>
            <a:r>
              <a:rPr lang="en-US" sz="975" b="1" dirty="0">
                <a:solidFill>
                  <a:schemeClr val="bg1"/>
                </a:solidFill>
              </a:rPr>
              <a:t>People matter, results count.</a:t>
            </a:r>
          </a:p>
        </p:txBody>
      </p:sp>
    </p:spTree>
    <p:extLst>
      <p:ext uri="{BB962C8B-B14F-4D97-AF65-F5344CB8AC3E}">
        <p14:creationId xmlns:p14="http://schemas.microsoft.com/office/powerpoint/2010/main" val="51486665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tags" Target="../tags/tag8.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heme" Target="../theme/theme2.xml"/><Relationship Id="rId21" Type="http://schemas.openxmlformats.org/officeDocument/2006/relationships/image" Target="../media/image5.png"/><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image" Target="../media/image1.emf"/><Relationship Id="rId25" Type="http://schemas.openxmlformats.org/officeDocument/2006/relationships/image" Target="../media/image7.png"/><Relationship Id="rId2" Type="http://schemas.openxmlformats.org/officeDocument/2006/relationships/slideLayout" Target="../slideLayouts/slideLayout5.xml"/><Relationship Id="rId16" Type="http://schemas.openxmlformats.org/officeDocument/2006/relationships/oleObject" Target="../embeddings/oleObject5.bin"/><Relationship Id="rId20" Type="http://schemas.openxmlformats.org/officeDocument/2006/relationships/hyperlink" Target="http://www.linkedin.com/company/capgemini" TargetMode="External"/><Relationship Id="rId1" Type="http://schemas.openxmlformats.org/officeDocument/2006/relationships/slideLayout" Target="../slideLayouts/slideLayout4.x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hyperlink" Target="http://www.youtube.com/capgemini" TargetMode="Externa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image" Target="../media/image6.png"/><Relationship Id="rId28" Type="http://schemas.openxmlformats.org/officeDocument/2006/relationships/image" Target="../media/image3.emf"/><Relationship Id="rId10" Type="http://schemas.openxmlformats.org/officeDocument/2006/relationships/tags" Target="../tags/tag24.xml"/><Relationship Id="rId19" Type="http://schemas.openxmlformats.org/officeDocument/2006/relationships/image" Target="../media/image4.png"/><Relationship Id="rId4" Type="http://schemas.openxmlformats.org/officeDocument/2006/relationships/vmlDrawing" Target="../drawings/vmlDrawing5.v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hyperlink" Target="http://www.twitter.com/capgemini" TargetMode="External"/><Relationship Id="rId27" Type="http://schemas.openxmlformats.org/officeDocument/2006/relationships/image" Target="../media/image8.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133" name="think-cell Slide" r:id="rId13" imgW="360" imgH="360" progId="">
                  <p:embed/>
                </p:oleObj>
              </mc:Choice>
              <mc:Fallback>
                <p:oleObj name="think-cell Slide" r:id="rId13" imgW="360" imgH="360" progId="">
                  <p:embed/>
                  <p:pic>
                    <p:nvPicPr>
                      <p:cNvPr id="0" name="Picture 9"/>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1" y="1"/>
            <a:ext cx="9905999" cy="908720"/>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8"/>
            </p:custDataLst>
          </p:nvPr>
        </p:nvSpPr>
        <p:spPr>
          <a:xfrm>
            <a:off x="344488" y="1376363"/>
            <a:ext cx="9217025" cy="4681537"/>
          </a:xfrm>
          <a:prstGeom prst="rect">
            <a:avLst/>
          </a:prstGeom>
        </p:spPr>
        <p:txBody>
          <a:bodyPr vert="horz" lIns="0" tIns="0" rIns="0" bIns="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lumMod val="50000"/>
                    <a:lumOff val="50000"/>
                  </a:schemeClr>
                </a:solidFill>
              </a:rPr>
              <a:pPr algn="ctr"/>
              <a:t>‹#›</a:t>
            </a:fld>
            <a:endParaRPr lang="en-US" sz="700" dirty="0">
              <a:solidFill>
                <a:schemeClr val="tx2">
                  <a:lumMod val="50000"/>
                  <a:lumOff val="50000"/>
                </a:schemeClr>
              </a:solidFill>
            </a:endParaRPr>
          </a:p>
        </p:txBody>
      </p:sp>
      <p:sp>
        <p:nvSpPr>
          <p:cNvPr id="9" name="Freeform 4"/>
          <p:cNvSpPr>
            <a:spLocks/>
          </p:cNvSpPr>
          <p:nvPr>
            <p:custDataLst>
              <p:tags r:id="rId10"/>
            </p:custDataLst>
          </p:nvPr>
        </p:nvSpPr>
        <p:spPr bwMode="auto">
          <a:xfrm>
            <a:off x="2" y="58762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lumMod val="50000"/>
                    <a:lumOff val="50000"/>
                  </a:schemeClr>
                </a:solidFill>
                <a:latin typeface="+mj-lt"/>
                <a:cs typeface="Helvetica Light"/>
              </a:rPr>
              <a:t>Copyright © Capgemini 2019. All Rights Reserved.</a:t>
            </a:r>
          </a:p>
        </p:txBody>
      </p:sp>
      <p:sp>
        <p:nvSpPr>
          <p:cNvPr id="13" name="Rectangle 12"/>
          <p:cNvSpPr/>
          <p:nvPr>
            <p:custDataLst>
              <p:tags r:id="rId12"/>
            </p:custDataLst>
          </p:nvPr>
        </p:nvSpPr>
        <p:spPr>
          <a:xfrm>
            <a:off x="7391400" y="6427223"/>
            <a:ext cx="2011074" cy="195814"/>
          </a:xfrm>
          <a:prstGeom prst="rect">
            <a:avLst/>
          </a:prstGeom>
        </p:spPr>
        <p:txBody>
          <a:bodyPr wrap="none" lIns="35997" tIns="35997" rIns="35997" bIns="35997" anchor="b" anchorCtr="0">
            <a:no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a:solidFill>
                  <a:schemeClr val="accent1">
                    <a:lumMod val="75000"/>
                  </a:schemeClr>
                </a:solidFill>
                <a:latin typeface="+mj-lt"/>
              </a:rPr>
              <a:t>SESP Release Version| March 2019</a:t>
            </a:r>
          </a:p>
        </p:txBody>
      </p:sp>
      <p:grpSp>
        <p:nvGrpSpPr>
          <p:cNvPr id="58" name="Groupe 167"/>
          <p:cNvGrpSpPr/>
          <p:nvPr/>
        </p:nvGrpSpPr>
        <p:grpSpPr>
          <a:xfrm>
            <a:off x="18" y="6083591"/>
            <a:ext cx="9895224" cy="345220"/>
            <a:chOff x="18" y="6007391"/>
            <a:chExt cx="9895224" cy="345220"/>
          </a:xfrm>
        </p:grpSpPr>
        <p:sp>
          <p:nvSpPr>
            <p:cNvPr id="59" name="Line 80"/>
            <p:cNvSpPr>
              <a:spLocks noChangeShapeType="1"/>
            </p:cNvSpPr>
            <p:nvPr userDrawn="1"/>
          </p:nvSpPr>
          <p:spPr bwMode="auto">
            <a:xfrm>
              <a:off x="4648359" y="6303175"/>
              <a:ext cx="951" cy="951"/>
            </a:xfrm>
            <a:prstGeom prst="line">
              <a:avLst/>
            </a:pr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69"/>
            <p:cNvSpPr>
              <a:spLocks/>
            </p:cNvSpPr>
            <p:nvPr userDrawn="1"/>
          </p:nvSpPr>
          <p:spPr bwMode="auto">
            <a:xfrm>
              <a:off x="8115388" y="6278432"/>
              <a:ext cx="197232" cy="21874"/>
            </a:xfrm>
            <a:custGeom>
              <a:avLst/>
              <a:gdLst>
                <a:gd name="connsiteX0" fmla="*/ 8791 w 8791"/>
                <a:gd name="connsiteY0" fmla="*/ 0 h 10000"/>
                <a:gd name="connsiteX1" fmla="*/ 8791 w 8791"/>
                <a:gd name="connsiteY1" fmla="*/ 7895 h 10000"/>
                <a:gd name="connsiteX2" fmla="*/ 8639 w 8791"/>
                <a:gd name="connsiteY2" fmla="*/ 7895 h 10000"/>
                <a:gd name="connsiteX3" fmla="*/ 8639 w 8791"/>
                <a:gd name="connsiteY3" fmla="*/ 7368 h 10000"/>
                <a:gd name="connsiteX4" fmla="*/ 8561 w 8791"/>
                <a:gd name="connsiteY4" fmla="*/ 7368 h 10000"/>
                <a:gd name="connsiteX5" fmla="*/ 8541 w 8791"/>
                <a:gd name="connsiteY5" fmla="*/ 10000 h 10000"/>
                <a:gd name="connsiteX6" fmla="*/ 8496 w 8791"/>
                <a:gd name="connsiteY6" fmla="*/ 10000 h 10000"/>
                <a:gd name="connsiteX7" fmla="*/ 8475 w 8791"/>
                <a:gd name="connsiteY7" fmla="*/ 7368 h 10000"/>
                <a:gd name="connsiteX8" fmla="*/ 8475 w 8791"/>
                <a:gd name="connsiteY8" fmla="*/ 1579 h 10000"/>
                <a:gd name="connsiteX9" fmla="*/ 8217 w 8791"/>
                <a:gd name="connsiteY9" fmla="*/ 1579 h 10000"/>
                <a:gd name="connsiteX10" fmla="*/ 8217 w 8791"/>
                <a:gd name="connsiteY10" fmla="*/ 7368 h 10000"/>
                <a:gd name="connsiteX11" fmla="*/ 8196 w 8791"/>
                <a:gd name="connsiteY11" fmla="*/ 10000 h 10000"/>
                <a:gd name="connsiteX12" fmla="*/ 8151 w 8791"/>
                <a:gd name="connsiteY12" fmla="*/ 10000 h 10000"/>
                <a:gd name="connsiteX13" fmla="*/ 8131 w 8791"/>
                <a:gd name="connsiteY13" fmla="*/ 7368 h 10000"/>
                <a:gd name="connsiteX14" fmla="*/ 8090 w 8791"/>
                <a:gd name="connsiteY14" fmla="*/ 7368 h 10000"/>
                <a:gd name="connsiteX15" fmla="*/ 8090 w 8791"/>
                <a:gd name="connsiteY15" fmla="*/ 7895 h 10000"/>
                <a:gd name="connsiteX16" fmla="*/ 0 w 8791"/>
                <a:gd name="connsiteY16" fmla="*/ 8020 h 10000"/>
                <a:gd name="connsiteX0" fmla="*/ 18463 w 18463"/>
                <a:gd name="connsiteY0" fmla="*/ 0 h 10000"/>
                <a:gd name="connsiteX1" fmla="*/ 18463 w 18463"/>
                <a:gd name="connsiteY1" fmla="*/ 7895 h 10000"/>
                <a:gd name="connsiteX2" fmla="*/ 18290 w 18463"/>
                <a:gd name="connsiteY2" fmla="*/ 7895 h 10000"/>
                <a:gd name="connsiteX3" fmla="*/ 18290 w 18463"/>
                <a:gd name="connsiteY3" fmla="*/ 7368 h 10000"/>
                <a:gd name="connsiteX4" fmla="*/ 18201 w 18463"/>
                <a:gd name="connsiteY4" fmla="*/ 7368 h 10000"/>
                <a:gd name="connsiteX5" fmla="*/ 18179 w 18463"/>
                <a:gd name="connsiteY5" fmla="*/ 10000 h 10000"/>
                <a:gd name="connsiteX6" fmla="*/ 18127 w 18463"/>
                <a:gd name="connsiteY6" fmla="*/ 10000 h 10000"/>
                <a:gd name="connsiteX7" fmla="*/ 18104 w 18463"/>
                <a:gd name="connsiteY7" fmla="*/ 7368 h 10000"/>
                <a:gd name="connsiteX8" fmla="*/ 18104 w 18463"/>
                <a:gd name="connsiteY8" fmla="*/ 1579 h 10000"/>
                <a:gd name="connsiteX9" fmla="*/ 17810 w 18463"/>
                <a:gd name="connsiteY9" fmla="*/ 1579 h 10000"/>
                <a:gd name="connsiteX10" fmla="*/ 17810 w 18463"/>
                <a:gd name="connsiteY10" fmla="*/ 7368 h 10000"/>
                <a:gd name="connsiteX11" fmla="*/ 17786 w 18463"/>
                <a:gd name="connsiteY11" fmla="*/ 10000 h 10000"/>
                <a:gd name="connsiteX12" fmla="*/ 17735 w 18463"/>
                <a:gd name="connsiteY12" fmla="*/ 10000 h 10000"/>
                <a:gd name="connsiteX13" fmla="*/ 17712 w 18463"/>
                <a:gd name="connsiteY13" fmla="*/ 7368 h 10000"/>
                <a:gd name="connsiteX14" fmla="*/ 17666 w 18463"/>
                <a:gd name="connsiteY14" fmla="*/ 7368 h 10000"/>
                <a:gd name="connsiteX15" fmla="*/ 17666 w 18463"/>
                <a:gd name="connsiteY15" fmla="*/ 7895 h 10000"/>
                <a:gd name="connsiteX16" fmla="*/ 0 w 18463"/>
                <a:gd name="connsiteY16" fmla="*/ 8020 h 10000"/>
                <a:gd name="connsiteX0" fmla="*/ 33591 w 33591"/>
                <a:gd name="connsiteY0" fmla="*/ 1816 h 11816"/>
                <a:gd name="connsiteX1" fmla="*/ 33591 w 33591"/>
                <a:gd name="connsiteY1" fmla="*/ 9711 h 11816"/>
                <a:gd name="connsiteX2" fmla="*/ 33418 w 33591"/>
                <a:gd name="connsiteY2" fmla="*/ 9711 h 11816"/>
                <a:gd name="connsiteX3" fmla="*/ 33418 w 33591"/>
                <a:gd name="connsiteY3" fmla="*/ 9184 h 11816"/>
                <a:gd name="connsiteX4" fmla="*/ 33329 w 33591"/>
                <a:gd name="connsiteY4" fmla="*/ 9184 h 11816"/>
                <a:gd name="connsiteX5" fmla="*/ 33307 w 33591"/>
                <a:gd name="connsiteY5" fmla="*/ 11816 h 11816"/>
                <a:gd name="connsiteX6" fmla="*/ 33255 w 33591"/>
                <a:gd name="connsiteY6" fmla="*/ 11816 h 11816"/>
                <a:gd name="connsiteX7" fmla="*/ 33232 w 33591"/>
                <a:gd name="connsiteY7" fmla="*/ 9184 h 11816"/>
                <a:gd name="connsiteX8" fmla="*/ 33232 w 33591"/>
                <a:gd name="connsiteY8" fmla="*/ 3395 h 11816"/>
                <a:gd name="connsiteX9" fmla="*/ 32938 w 33591"/>
                <a:gd name="connsiteY9" fmla="*/ 3395 h 11816"/>
                <a:gd name="connsiteX10" fmla="*/ 32938 w 33591"/>
                <a:gd name="connsiteY10" fmla="*/ 9184 h 11816"/>
                <a:gd name="connsiteX11" fmla="*/ 32914 w 33591"/>
                <a:gd name="connsiteY11" fmla="*/ 11816 h 11816"/>
                <a:gd name="connsiteX12" fmla="*/ 32863 w 33591"/>
                <a:gd name="connsiteY12" fmla="*/ 11816 h 11816"/>
                <a:gd name="connsiteX13" fmla="*/ 32840 w 33591"/>
                <a:gd name="connsiteY13" fmla="*/ 9184 h 11816"/>
                <a:gd name="connsiteX14" fmla="*/ 32794 w 33591"/>
                <a:gd name="connsiteY14" fmla="*/ 9184 h 11816"/>
                <a:gd name="connsiteX15" fmla="*/ 32794 w 33591"/>
                <a:gd name="connsiteY15" fmla="*/ 9711 h 11816"/>
                <a:gd name="connsiteX16" fmla="*/ 0 w 33591"/>
                <a:gd name="connsiteY16" fmla="*/ 0 h 11816"/>
                <a:gd name="connsiteX0" fmla="*/ 33591 w 33591"/>
                <a:gd name="connsiteY0" fmla="*/ 0 h 10000"/>
                <a:gd name="connsiteX1" fmla="*/ 33591 w 33591"/>
                <a:gd name="connsiteY1" fmla="*/ 7895 h 10000"/>
                <a:gd name="connsiteX2" fmla="*/ 33418 w 33591"/>
                <a:gd name="connsiteY2" fmla="*/ 7895 h 10000"/>
                <a:gd name="connsiteX3" fmla="*/ 33418 w 33591"/>
                <a:gd name="connsiteY3" fmla="*/ 7368 h 10000"/>
                <a:gd name="connsiteX4" fmla="*/ 33329 w 33591"/>
                <a:gd name="connsiteY4" fmla="*/ 7368 h 10000"/>
                <a:gd name="connsiteX5" fmla="*/ 33307 w 33591"/>
                <a:gd name="connsiteY5" fmla="*/ 10000 h 10000"/>
                <a:gd name="connsiteX6" fmla="*/ 33255 w 33591"/>
                <a:gd name="connsiteY6" fmla="*/ 10000 h 10000"/>
                <a:gd name="connsiteX7" fmla="*/ 33232 w 33591"/>
                <a:gd name="connsiteY7" fmla="*/ 7368 h 10000"/>
                <a:gd name="connsiteX8" fmla="*/ 33232 w 33591"/>
                <a:gd name="connsiteY8" fmla="*/ 1579 h 10000"/>
                <a:gd name="connsiteX9" fmla="*/ 32938 w 33591"/>
                <a:gd name="connsiteY9" fmla="*/ 1579 h 10000"/>
                <a:gd name="connsiteX10" fmla="*/ 32938 w 33591"/>
                <a:gd name="connsiteY10" fmla="*/ 7368 h 10000"/>
                <a:gd name="connsiteX11" fmla="*/ 32914 w 33591"/>
                <a:gd name="connsiteY11" fmla="*/ 10000 h 10000"/>
                <a:gd name="connsiteX12" fmla="*/ 32863 w 33591"/>
                <a:gd name="connsiteY12" fmla="*/ 10000 h 10000"/>
                <a:gd name="connsiteX13" fmla="*/ 32840 w 33591"/>
                <a:gd name="connsiteY13" fmla="*/ 7368 h 10000"/>
                <a:gd name="connsiteX14" fmla="*/ 32794 w 33591"/>
                <a:gd name="connsiteY14" fmla="*/ 7368 h 10000"/>
                <a:gd name="connsiteX15" fmla="*/ 32794 w 33591"/>
                <a:gd name="connsiteY15" fmla="*/ 7895 h 10000"/>
                <a:gd name="connsiteX16" fmla="*/ 0 w 33591"/>
                <a:gd name="connsiteY16" fmla="*/ 2539 h 10000"/>
                <a:gd name="connsiteX0" fmla="*/ 33591 w 33591"/>
                <a:gd name="connsiteY0" fmla="*/ 0 h 10000"/>
                <a:gd name="connsiteX1" fmla="*/ 33591 w 33591"/>
                <a:gd name="connsiteY1" fmla="*/ 7895 h 10000"/>
                <a:gd name="connsiteX2" fmla="*/ 33418 w 33591"/>
                <a:gd name="connsiteY2" fmla="*/ 7895 h 10000"/>
                <a:gd name="connsiteX3" fmla="*/ 33418 w 33591"/>
                <a:gd name="connsiteY3" fmla="*/ 7368 h 10000"/>
                <a:gd name="connsiteX4" fmla="*/ 33329 w 33591"/>
                <a:gd name="connsiteY4" fmla="*/ 7368 h 10000"/>
                <a:gd name="connsiteX5" fmla="*/ 33307 w 33591"/>
                <a:gd name="connsiteY5" fmla="*/ 10000 h 10000"/>
                <a:gd name="connsiteX6" fmla="*/ 33255 w 33591"/>
                <a:gd name="connsiteY6" fmla="*/ 10000 h 10000"/>
                <a:gd name="connsiteX7" fmla="*/ 33232 w 33591"/>
                <a:gd name="connsiteY7" fmla="*/ 7368 h 10000"/>
                <a:gd name="connsiteX8" fmla="*/ 33232 w 33591"/>
                <a:gd name="connsiteY8" fmla="*/ 1579 h 10000"/>
                <a:gd name="connsiteX9" fmla="*/ 32938 w 33591"/>
                <a:gd name="connsiteY9" fmla="*/ 1579 h 10000"/>
                <a:gd name="connsiteX10" fmla="*/ 32938 w 33591"/>
                <a:gd name="connsiteY10" fmla="*/ 7368 h 10000"/>
                <a:gd name="connsiteX11" fmla="*/ 32914 w 33591"/>
                <a:gd name="connsiteY11" fmla="*/ 10000 h 10000"/>
                <a:gd name="connsiteX12" fmla="*/ 32863 w 33591"/>
                <a:gd name="connsiteY12" fmla="*/ 10000 h 10000"/>
                <a:gd name="connsiteX13" fmla="*/ 32840 w 33591"/>
                <a:gd name="connsiteY13" fmla="*/ 7368 h 10000"/>
                <a:gd name="connsiteX14" fmla="*/ 32794 w 33591"/>
                <a:gd name="connsiteY14" fmla="*/ 7368 h 10000"/>
                <a:gd name="connsiteX15" fmla="*/ 32794 w 33591"/>
                <a:gd name="connsiteY15" fmla="*/ 7895 h 10000"/>
                <a:gd name="connsiteX16" fmla="*/ 0 w 33591"/>
                <a:gd name="connsiteY16" fmla="*/ 6894 h 10000"/>
                <a:gd name="connsiteX0" fmla="*/ 33591 w 33591"/>
                <a:gd name="connsiteY0" fmla="*/ 0 h 11249"/>
                <a:gd name="connsiteX1" fmla="*/ 33591 w 33591"/>
                <a:gd name="connsiteY1" fmla="*/ 7895 h 11249"/>
                <a:gd name="connsiteX2" fmla="*/ 33418 w 33591"/>
                <a:gd name="connsiteY2" fmla="*/ 7895 h 11249"/>
                <a:gd name="connsiteX3" fmla="*/ 33418 w 33591"/>
                <a:gd name="connsiteY3" fmla="*/ 7368 h 11249"/>
                <a:gd name="connsiteX4" fmla="*/ 33329 w 33591"/>
                <a:gd name="connsiteY4" fmla="*/ 7368 h 11249"/>
                <a:gd name="connsiteX5" fmla="*/ 33307 w 33591"/>
                <a:gd name="connsiteY5" fmla="*/ 10000 h 11249"/>
                <a:gd name="connsiteX6" fmla="*/ 33255 w 33591"/>
                <a:gd name="connsiteY6" fmla="*/ 10000 h 11249"/>
                <a:gd name="connsiteX7" fmla="*/ 33232 w 33591"/>
                <a:gd name="connsiteY7" fmla="*/ 7368 h 11249"/>
                <a:gd name="connsiteX8" fmla="*/ 33232 w 33591"/>
                <a:gd name="connsiteY8" fmla="*/ 1579 h 11249"/>
                <a:gd name="connsiteX9" fmla="*/ 32938 w 33591"/>
                <a:gd name="connsiteY9" fmla="*/ 1579 h 11249"/>
                <a:gd name="connsiteX10" fmla="*/ 32938 w 33591"/>
                <a:gd name="connsiteY10" fmla="*/ 7368 h 11249"/>
                <a:gd name="connsiteX11" fmla="*/ 32914 w 33591"/>
                <a:gd name="connsiteY11" fmla="*/ 10000 h 11249"/>
                <a:gd name="connsiteX12" fmla="*/ 32863 w 33591"/>
                <a:gd name="connsiteY12" fmla="*/ 10000 h 11249"/>
                <a:gd name="connsiteX13" fmla="*/ 32840 w 33591"/>
                <a:gd name="connsiteY13" fmla="*/ 7368 h 11249"/>
                <a:gd name="connsiteX14" fmla="*/ 32794 w 33591"/>
                <a:gd name="connsiteY14" fmla="*/ 7368 h 11249"/>
                <a:gd name="connsiteX15" fmla="*/ 32794 w 33591"/>
                <a:gd name="connsiteY15" fmla="*/ 7895 h 11249"/>
                <a:gd name="connsiteX16" fmla="*/ 0 w 33591"/>
                <a:gd name="connsiteY16" fmla="*/ 11249 h 11249"/>
                <a:gd name="connsiteX0" fmla="*/ 797 w 797"/>
                <a:gd name="connsiteY0" fmla="*/ 0 h 10000"/>
                <a:gd name="connsiteX1" fmla="*/ 797 w 797"/>
                <a:gd name="connsiteY1" fmla="*/ 7895 h 10000"/>
                <a:gd name="connsiteX2" fmla="*/ 624 w 797"/>
                <a:gd name="connsiteY2" fmla="*/ 7895 h 10000"/>
                <a:gd name="connsiteX3" fmla="*/ 624 w 797"/>
                <a:gd name="connsiteY3" fmla="*/ 7368 h 10000"/>
                <a:gd name="connsiteX4" fmla="*/ 535 w 797"/>
                <a:gd name="connsiteY4" fmla="*/ 7368 h 10000"/>
                <a:gd name="connsiteX5" fmla="*/ 513 w 797"/>
                <a:gd name="connsiteY5" fmla="*/ 10000 h 10000"/>
                <a:gd name="connsiteX6" fmla="*/ 461 w 797"/>
                <a:gd name="connsiteY6" fmla="*/ 10000 h 10000"/>
                <a:gd name="connsiteX7" fmla="*/ 438 w 797"/>
                <a:gd name="connsiteY7" fmla="*/ 7368 h 10000"/>
                <a:gd name="connsiteX8" fmla="*/ 438 w 797"/>
                <a:gd name="connsiteY8" fmla="*/ 1579 h 10000"/>
                <a:gd name="connsiteX9" fmla="*/ 144 w 797"/>
                <a:gd name="connsiteY9" fmla="*/ 1579 h 10000"/>
                <a:gd name="connsiteX10" fmla="*/ 144 w 797"/>
                <a:gd name="connsiteY10" fmla="*/ 7368 h 10000"/>
                <a:gd name="connsiteX11" fmla="*/ 120 w 797"/>
                <a:gd name="connsiteY11" fmla="*/ 10000 h 10000"/>
                <a:gd name="connsiteX12" fmla="*/ 69 w 797"/>
                <a:gd name="connsiteY12" fmla="*/ 10000 h 10000"/>
                <a:gd name="connsiteX13" fmla="*/ 46 w 797"/>
                <a:gd name="connsiteY13" fmla="*/ 7368 h 10000"/>
                <a:gd name="connsiteX14" fmla="*/ 0 w 797"/>
                <a:gd name="connsiteY14" fmla="*/ 7368 h 10000"/>
                <a:gd name="connsiteX15" fmla="*/ 0 w 797"/>
                <a:gd name="connsiteY15" fmla="*/ 789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7" h="10000">
                  <a:moveTo>
                    <a:pt x="797" y="0"/>
                  </a:moveTo>
                  <a:lnTo>
                    <a:pt x="797" y="7895"/>
                  </a:lnTo>
                  <a:lnTo>
                    <a:pt x="624" y="7895"/>
                  </a:lnTo>
                  <a:lnTo>
                    <a:pt x="624" y="7368"/>
                  </a:lnTo>
                  <a:lnTo>
                    <a:pt x="535" y="7368"/>
                  </a:lnTo>
                  <a:cubicBezTo>
                    <a:pt x="535" y="8947"/>
                    <a:pt x="526" y="10000"/>
                    <a:pt x="513" y="10000"/>
                  </a:cubicBezTo>
                  <a:lnTo>
                    <a:pt x="461" y="10000"/>
                  </a:lnTo>
                  <a:cubicBezTo>
                    <a:pt x="447" y="10000"/>
                    <a:pt x="438" y="8947"/>
                    <a:pt x="438" y="7368"/>
                  </a:cubicBezTo>
                  <a:lnTo>
                    <a:pt x="438" y="1579"/>
                  </a:lnTo>
                  <a:lnTo>
                    <a:pt x="144" y="1579"/>
                  </a:lnTo>
                  <a:lnTo>
                    <a:pt x="144" y="7368"/>
                  </a:lnTo>
                  <a:cubicBezTo>
                    <a:pt x="144" y="8947"/>
                    <a:pt x="135" y="10000"/>
                    <a:pt x="120" y="10000"/>
                  </a:cubicBezTo>
                  <a:lnTo>
                    <a:pt x="69" y="10000"/>
                  </a:lnTo>
                  <a:cubicBezTo>
                    <a:pt x="55" y="10000"/>
                    <a:pt x="46" y="8421"/>
                    <a:pt x="46" y="7368"/>
                  </a:cubicBezTo>
                  <a:lnTo>
                    <a:pt x="0" y="7368"/>
                  </a:lnTo>
                  <a:lnTo>
                    <a:pt x="0" y="7895"/>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87"/>
            <p:cNvSpPr>
              <a:spLocks/>
            </p:cNvSpPr>
            <p:nvPr userDrawn="1"/>
          </p:nvSpPr>
          <p:spPr bwMode="auto">
            <a:xfrm>
              <a:off x="9359153" y="6235502"/>
              <a:ext cx="536089" cy="59950"/>
            </a:xfrm>
            <a:custGeom>
              <a:avLst/>
              <a:gdLst/>
              <a:ahLst/>
              <a:cxnLst>
                <a:cxn ang="0">
                  <a:pos x="8" y="0"/>
                </a:cxn>
                <a:cxn ang="0">
                  <a:pos x="2" y="94"/>
                </a:cxn>
                <a:cxn ang="0">
                  <a:pos x="10" y="100"/>
                </a:cxn>
                <a:cxn ang="0">
                  <a:pos x="83" y="100"/>
                </a:cxn>
                <a:cxn ang="0">
                  <a:pos x="108" y="100"/>
                </a:cxn>
                <a:cxn ang="0">
                  <a:pos x="3344" y="100"/>
                </a:cxn>
              </a:cxnLst>
              <a:rect l="0" t="0" r="r" b="b"/>
              <a:pathLst>
                <a:path w="3344" h="100">
                  <a:moveTo>
                    <a:pt x="8" y="0"/>
                  </a:moveTo>
                  <a:cubicBezTo>
                    <a:pt x="2" y="94"/>
                    <a:pt x="2" y="94"/>
                    <a:pt x="2" y="94"/>
                  </a:cubicBezTo>
                  <a:cubicBezTo>
                    <a:pt x="2" y="94"/>
                    <a:pt x="0" y="100"/>
                    <a:pt x="10" y="100"/>
                  </a:cubicBezTo>
                  <a:cubicBezTo>
                    <a:pt x="13" y="100"/>
                    <a:pt x="83" y="100"/>
                    <a:pt x="83" y="100"/>
                  </a:cubicBezTo>
                  <a:cubicBezTo>
                    <a:pt x="108" y="100"/>
                    <a:pt x="108" y="100"/>
                    <a:pt x="108" y="100"/>
                  </a:cubicBezTo>
                  <a:cubicBezTo>
                    <a:pt x="3344" y="100"/>
                    <a:pt x="3344" y="100"/>
                    <a:pt x="3344" y="10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62" name="Groupe 162"/>
            <p:cNvGrpSpPr/>
            <p:nvPr userDrawn="1"/>
          </p:nvGrpSpPr>
          <p:grpSpPr>
            <a:xfrm>
              <a:off x="8063452" y="6007391"/>
              <a:ext cx="1372323" cy="345220"/>
              <a:chOff x="3714750" y="5859596"/>
              <a:chExt cx="2290763" cy="576263"/>
            </a:xfrm>
          </p:grpSpPr>
          <p:sp>
            <p:nvSpPr>
              <p:cNvPr id="64" name="Freeform 86"/>
              <p:cNvSpPr>
                <a:spLocks/>
              </p:cNvSpPr>
              <p:nvPr userDrawn="1"/>
            </p:nvSpPr>
            <p:spPr bwMode="auto">
              <a:xfrm>
                <a:off x="5872163" y="6098245"/>
                <a:ext cx="133350" cy="104775"/>
              </a:xfrm>
              <a:custGeom>
                <a:avLst/>
                <a:gdLst/>
                <a:ahLst/>
                <a:cxnLst>
                  <a:cxn ang="0">
                    <a:pos x="0" y="0"/>
                  </a:cxn>
                  <a:cxn ang="0">
                    <a:pos x="44" y="14"/>
                  </a:cxn>
                  <a:cxn ang="0">
                    <a:pos x="67" y="34"/>
                  </a:cxn>
                  <a:cxn ang="0">
                    <a:pos x="66" y="54"/>
                  </a:cxn>
                  <a:cxn ang="0">
                    <a:pos x="59" y="45"/>
                  </a:cxn>
                  <a:cxn ang="0">
                    <a:pos x="35" y="35"/>
                  </a:cxn>
                  <a:cxn ang="0">
                    <a:pos x="6" y="12"/>
                  </a:cxn>
                </a:cxnLst>
                <a:rect l="0" t="0" r="r" b="b"/>
                <a:pathLst>
                  <a:path w="69" h="54">
                    <a:moveTo>
                      <a:pt x="0" y="0"/>
                    </a:moveTo>
                    <a:cubicBezTo>
                      <a:pt x="0" y="0"/>
                      <a:pt x="17" y="10"/>
                      <a:pt x="44" y="14"/>
                    </a:cubicBezTo>
                    <a:cubicBezTo>
                      <a:pt x="57" y="15"/>
                      <a:pt x="65" y="25"/>
                      <a:pt x="67" y="34"/>
                    </a:cubicBezTo>
                    <a:cubicBezTo>
                      <a:pt x="69" y="43"/>
                      <a:pt x="65" y="54"/>
                      <a:pt x="66" y="54"/>
                    </a:cubicBezTo>
                    <a:cubicBezTo>
                      <a:pt x="66" y="54"/>
                      <a:pt x="64" y="48"/>
                      <a:pt x="59" y="45"/>
                    </a:cubicBezTo>
                    <a:cubicBezTo>
                      <a:pt x="54" y="40"/>
                      <a:pt x="44" y="38"/>
                      <a:pt x="35" y="35"/>
                    </a:cubicBezTo>
                    <a:cubicBezTo>
                      <a:pt x="7" y="30"/>
                      <a:pt x="6" y="12"/>
                      <a:pt x="6" y="12"/>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51"/>
              <p:cNvSpPr>
                <a:spLocks/>
              </p:cNvSpPr>
              <p:nvPr userDrawn="1"/>
            </p:nvSpPr>
            <p:spPr bwMode="auto">
              <a:xfrm>
                <a:off x="4686300" y="6099309"/>
                <a:ext cx="117475" cy="201613"/>
              </a:xfrm>
              <a:custGeom>
                <a:avLst/>
                <a:gdLst/>
                <a:ahLst/>
                <a:cxnLst>
                  <a:cxn ang="0">
                    <a:pos x="64" y="0"/>
                  </a:cxn>
                  <a:cxn ang="0">
                    <a:pos x="11" y="35"/>
                  </a:cxn>
                  <a:cxn ang="0">
                    <a:pos x="74" y="81"/>
                  </a:cxn>
                  <a:cxn ang="0">
                    <a:pos x="0" y="127"/>
                  </a:cxn>
                </a:cxnLst>
                <a:rect l="0" t="0" r="r" b="b"/>
                <a:pathLst>
                  <a:path w="74" h="127">
                    <a:moveTo>
                      <a:pt x="64" y="0"/>
                    </a:moveTo>
                    <a:lnTo>
                      <a:pt x="11" y="35"/>
                    </a:lnTo>
                    <a:lnTo>
                      <a:pt x="74" y="81"/>
                    </a:lnTo>
                    <a:lnTo>
                      <a:pt x="0" y="127"/>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52"/>
              <p:cNvSpPr>
                <a:spLocks/>
              </p:cNvSpPr>
              <p:nvPr userDrawn="1"/>
            </p:nvSpPr>
            <p:spPr bwMode="auto">
              <a:xfrm>
                <a:off x="4614863" y="6180271"/>
                <a:ext cx="77788" cy="41275"/>
              </a:xfrm>
              <a:custGeom>
                <a:avLst/>
                <a:gdLst/>
                <a:ahLst/>
                <a:cxnLst>
                  <a:cxn ang="0">
                    <a:pos x="49" y="0"/>
                  </a:cxn>
                  <a:cxn ang="0">
                    <a:pos x="0" y="26"/>
                  </a:cxn>
                  <a:cxn ang="0">
                    <a:pos x="45" y="26"/>
                  </a:cxn>
                </a:cxnLst>
                <a:rect l="0" t="0" r="r" b="b"/>
                <a:pathLst>
                  <a:path w="49" h="26">
                    <a:moveTo>
                      <a:pt x="49" y="0"/>
                    </a:moveTo>
                    <a:lnTo>
                      <a:pt x="0" y="26"/>
                    </a:lnTo>
                    <a:lnTo>
                      <a:pt x="45" y="26"/>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53"/>
              <p:cNvSpPr>
                <a:spLocks/>
              </p:cNvSpPr>
              <p:nvPr userDrawn="1"/>
            </p:nvSpPr>
            <p:spPr bwMode="auto">
              <a:xfrm>
                <a:off x="4608513" y="6119946"/>
                <a:ext cx="87313" cy="30163"/>
              </a:xfrm>
              <a:custGeom>
                <a:avLst/>
                <a:gdLst/>
                <a:ahLst/>
                <a:cxnLst>
                  <a:cxn ang="0">
                    <a:pos x="55" y="0"/>
                  </a:cxn>
                  <a:cxn ang="0">
                    <a:pos x="0" y="19"/>
                  </a:cxn>
                  <a:cxn ang="0">
                    <a:pos x="54" y="19"/>
                  </a:cxn>
                </a:cxnLst>
                <a:rect l="0" t="0" r="r" b="b"/>
                <a:pathLst>
                  <a:path w="55" h="19">
                    <a:moveTo>
                      <a:pt x="55" y="0"/>
                    </a:moveTo>
                    <a:lnTo>
                      <a:pt x="0" y="19"/>
                    </a:lnTo>
                    <a:lnTo>
                      <a:pt x="54" y="19"/>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54"/>
              <p:cNvSpPr>
                <a:spLocks/>
              </p:cNvSpPr>
              <p:nvPr userDrawn="1"/>
            </p:nvSpPr>
            <p:spPr bwMode="auto">
              <a:xfrm>
                <a:off x="4306888" y="5954846"/>
                <a:ext cx="412750" cy="382588"/>
              </a:xfrm>
              <a:custGeom>
                <a:avLst/>
                <a:gdLst/>
                <a:ahLst/>
                <a:cxnLst>
                  <a:cxn ang="0">
                    <a:pos x="0" y="144"/>
                  </a:cxn>
                  <a:cxn ang="0">
                    <a:pos x="5" y="110"/>
                  </a:cxn>
                  <a:cxn ang="0">
                    <a:pos x="49" y="110"/>
                  </a:cxn>
                  <a:cxn ang="0">
                    <a:pos x="54" y="144"/>
                  </a:cxn>
                  <a:cxn ang="0">
                    <a:pos x="66" y="181"/>
                  </a:cxn>
                  <a:cxn ang="0">
                    <a:pos x="66" y="196"/>
                  </a:cxn>
                  <a:cxn ang="0">
                    <a:pos x="105" y="196"/>
                  </a:cxn>
                  <a:cxn ang="0">
                    <a:pos x="124" y="196"/>
                  </a:cxn>
                  <a:cxn ang="0">
                    <a:pos x="191" y="196"/>
                  </a:cxn>
                  <a:cxn ang="0">
                    <a:pos x="192" y="187"/>
                  </a:cxn>
                  <a:cxn ang="0">
                    <a:pos x="214" y="0"/>
                  </a:cxn>
                </a:cxnLst>
                <a:rect l="0" t="0" r="r" b="b"/>
                <a:pathLst>
                  <a:path w="214" h="196">
                    <a:moveTo>
                      <a:pt x="0" y="144"/>
                    </a:moveTo>
                    <a:cubicBezTo>
                      <a:pt x="4" y="132"/>
                      <a:pt x="5" y="110"/>
                      <a:pt x="5" y="110"/>
                    </a:cubicBezTo>
                    <a:cubicBezTo>
                      <a:pt x="49" y="110"/>
                      <a:pt x="49" y="110"/>
                      <a:pt x="49" y="110"/>
                    </a:cubicBezTo>
                    <a:cubicBezTo>
                      <a:pt x="49" y="110"/>
                      <a:pt x="51" y="132"/>
                      <a:pt x="54" y="144"/>
                    </a:cubicBezTo>
                    <a:cubicBezTo>
                      <a:pt x="59" y="165"/>
                      <a:pt x="66" y="181"/>
                      <a:pt x="66" y="181"/>
                    </a:cubicBezTo>
                    <a:cubicBezTo>
                      <a:pt x="66" y="196"/>
                      <a:pt x="66" y="196"/>
                      <a:pt x="66" y="196"/>
                    </a:cubicBezTo>
                    <a:cubicBezTo>
                      <a:pt x="105" y="196"/>
                      <a:pt x="105" y="196"/>
                      <a:pt x="105" y="196"/>
                    </a:cubicBezTo>
                    <a:cubicBezTo>
                      <a:pt x="124" y="196"/>
                      <a:pt x="124" y="196"/>
                      <a:pt x="124" y="196"/>
                    </a:cubicBezTo>
                    <a:cubicBezTo>
                      <a:pt x="191" y="196"/>
                      <a:pt x="191" y="196"/>
                      <a:pt x="191" y="196"/>
                    </a:cubicBezTo>
                    <a:cubicBezTo>
                      <a:pt x="192" y="187"/>
                      <a:pt x="192" y="187"/>
                      <a:pt x="192" y="187"/>
                    </a:cubicBezTo>
                    <a:cubicBezTo>
                      <a:pt x="214" y="0"/>
                      <a:pt x="214" y="0"/>
                      <a:pt x="214" y="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55"/>
              <p:cNvSpPr>
                <a:spLocks/>
              </p:cNvSpPr>
              <p:nvPr userDrawn="1"/>
            </p:nvSpPr>
            <p:spPr bwMode="auto">
              <a:xfrm>
                <a:off x="4967288" y="6023109"/>
                <a:ext cx="385763" cy="317500"/>
              </a:xfrm>
              <a:custGeom>
                <a:avLst/>
                <a:gdLst/>
                <a:ahLst/>
                <a:cxnLst>
                  <a:cxn ang="0">
                    <a:pos x="243" y="200"/>
                  </a:cxn>
                  <a:cxn ang="0">
                    <a:pos x="138" y="200"/>
                  </a:cxn>
                  <a:cxn ang="0">
                    <a:pos x="156" y="136"/>
                  </a:cxn>
                  <a:cxn ang="0">
                    <a:pos x="187" y="136"/>
                  </a:cxn>
                  <a:cxn ang="0">
                    <a:pos x="227" y="0"/>
                  </a:cxn>
                  <a:cxn ang="0">
                    <a:pos x="43" y="0"/>
                  </a:cxn>
                  <a:cxn ang="0">
                    <a:pos x="0" y="134"/>
                  </a:cxn>
                  <a:cxn ang="0">
                    <a:pos x="125" y="134"/>
                  </a:cxn>
                </a:cxnLst>
                <a:rect l="0" t="0" r="r" b="b"/>
                <a:pathLst>
                  <a:path w="243" h="200">
                    <a:moveTo>
                      <a:pt x="243" y="200"/>
                    </a:moveTo>
                    <a:lnTo>
                      <a:pt x="138" y="200"/>
                    </a:lnTo>
                    <a:lnTo>
                      <a:pt x="156" y="136"/>
                    </a:lnTo>
                    <a:lnTo>
                      <a:pt x="187" y="136"/>
                    </a:lnTo>
                    <a:lnTo>
                      <a:pt x="227" y="0"/>
                    </a:lnTo>
                    <a:lnTo>
                      <a:pt x="43" y="0"/>
                    </a:lnTo>
                    <a:lnTo>
                      <a:pt x="0" y="134"/>
                    </a:lnTo>
                    <a:lnTo>
                      <a:pt x="125" y="134"/>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56"/>
              <p:cNvSpPr>
                <a:spLocks/>
              </p:cNvSpPr>
              <p:nvPr userDrawn="1"/>
            </p:nvSpPr>
            <p:spPr bwMode="auto">
              <a:xfrm>
                <a:off x="5603875" y="6031046"/>
                <a:ext cx="268288" cy="311150"/>
              </a:xfrm>
              <a:custGeom>
                <a:avLst/>
                <a:gdLst/>
                <a:ahLst/>
                <a:cxnLst>
                  <a:cxn ang="0">
                    <a:pos x="139" y="18"/>
                  </a:cxn>
                  <a:cxn ang="0">
                    <a:pos x="137" y="11"/>
                  </a:cxn>
                  <a:cxn ang="0">
                    <a:pos x="118" y="3"/>
                  </a:cxn>
                  <a:cxn ang="0">
                    <a:pos x="110" y="23"/>
                  </a:cxn>
                  <a:cxn ang="0">
                    <a:pos x="130" y="31"/>
                  </a:cxn>
                  <a:cxn ang="0">
                    <a:pos x="130" y="46"/>
                  </a:cxn>
                  <a:cxn ang="0">
                    <a:pos x="124" y="47"/>
                  </a:cxn>
                  <a:cxn ang="0">
                    <a:pos x="118" y="46"/>
                  </a:cxn>
                  <a:cxn ang="0">
                    <a:pos x="111" y="153"/>
                  </a:cxn>
                  <a:cxn ang="0">
                    <a:pos x="104" y="159"/>
                  </a:cxn>
                  <a:cxn ang="0">
                    <a:pos x="89" y="159"/>
                  </a:cxn>
                  <a:cxn ang="0">
                    <a:pos x="57" y="160"/>
                  </a:cxn>
                  <a:cxn ang="0">
                    <a:pos x="0" y="160"/>
                  </a:cxn>
                </a:cxnLst>
                <a:rect l="0" t="0" r="r" b="b"/>
                <a:pathLst>
                  <a:path w="139" h="160">
                    <a:moveTo>
                      <a:pt x="139" y="18"/>
                    </a:moveTo>
                    <a:cubicBezTo>
                      <a:pt x="139" y="15"/>
                      <a:pt x="138" y="13"/>
                      <a:pt x="137" y="11"/>
                    </a:cubicBezTo>
                    <a:cubicBezTo>
                      <a:pt x="134" y="3"/>
                      <a:pt x="125" y="0"/>
                      <a:pt x="118" y="3"/>
                    </a:cubicBezTo>
                    <a:cubicBezTo>
                      <a:pt x="110" y="7"/>
                      <a:pt x="107" y="16"/>
                      <a:pt x="110" y="23"/>
                    </a:cubicBezTo>
                    <a:cubicBezTo>
                      <a:pt x="114" y="31"/>
                      <a:pt x="122" y="34"/>
                      <a:pt x="130" y="31"/>
                    </a:cubicBezTo>
                    <a:cubicBezTo>
                      <a:pt x="130" y="46"/>
                      <a:pt x="130" y="46"/>
                      <a:pt x="130" y="46"/>
                    </a:cubicBezTo>
                    <a:cubicBezTo>
                      <a:pt x="128" y="46"/>
                      <a:pt x="124" y="47"/>
                      <a:pt x="124" y="47"/>
                    </a:cubicBezTo>
                    <a:cubicBezTo>
                      <a:pt x="122" y="47"/>
                      <a:pt x="120" y="46"/>
                      <a:pt x="118" y="46"/>
                    </a:cubicBezTo>
                    <a:cubicBezTo>
                      <a:pt x="111" y="153"/>
                      <a:pt x="111" y="153"/>
                      <a:pt x="111" y="153"/>
                    </a:cubicBezTo>
                    <a:cubicBezTo>
                      <a:pt x="111" y="153"/>
                      <a:pt x="111" y="159"/>
                      <a:pt x="104" y="159"/>
                    </a:cubicBezTo>
                    <a:cubicBezTo>
                      <a:pt x="103" y="159"/>
                      <a:pt x="87" y="159"/>
                      <a:pt x="89" y="159"/>
                    </a:cubicBezTo>
                    <a:cubicBezTo>
                      <a:pt x="57" y="160"/>
                      <a:pt x="57" y="160"/>
                      <a:pt x="57" y="160"/>
                    </a:cubicBezTo>
                    <a:cubicBezTo>
                      <a:pt x="0" y="160"/>
                      <a:pt x="0" y="160"/>
                      <a:pt x="0" y="16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57"/>
              <p:cNvSpPr>
                <a:spLocks/>
              </p:cNvSpPr>
              <p:nvPr userDrawn="1"/>
            </p:nvSpPr>
            <p:spPr bwMode="auto">
              <a:xfrm>
                <a:off x="4773613" y="5954846"/>
                <a:ext cx="466725" cy="387350"/>
              </a:xfrm>
              <a:custGeom>
                <a:avLst/>
                <a:gdLst/>
                <a:ahLst/>
                <a:cxnLst>
                  <a:cxn ang="0">
                    <a:pos x="294" y="45"/>
                  </a:cxn>
                  <a:cxn ang="0">
                    <a:pos x="234" y="244"/>
                  </a:cxn>
                  <a:cxn ang="0">
                    <a:pos x="29" y="244"/>
                  </a:cxn>
                  <a:cxn ang="0">
                    <a:pos x="26" y="229"/>
                  </a:cxn>
                  <a:cxn ang="0">
                    <a:pos x="0" y="0"/>
                  </a:cxn>
                </a:cxnLst>
                <a:rect l="0" t="0" r="r" b="b"/>
                <a:pathLst>
                  <a:path w="294" h="244">
                    <a:moveTo>
                      <a:pt x="294" y="45"/>
                    </a:moveTo>
                    <a:lnTo>
                      <a:pt x="234" y="244"/>
                    </a:lnTo>
                    <a:lnTo>
                      <a:pt x="29" y="244"/>
                    </a:lnTo>
                    <a:lnTo>
                      <a:pt x="26" y="229"/>
                    </a:lnTo>
                    <a:lnTo>
                      <a:pt x="0" y="0"/>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58"/>
              <p:cNvSpPr>
                <a:spLocks/>
              </p:cNvSpPr>
              <p:nvPr userDrawn="1"/>
            </p:nvSpPr>
            <p:spPr bwMode="auto">
              <a:xfrm>
                <a:off x="4673600" y="5970721"/>
                <a:ext cx="42863" cy="20638"/>
              </a:xfrm>
              <a:custGeom>
                <a:avLst/>
                <a:gdLst/>
                <a:ahLst/>
                <a:cxnLst>
                  <a:cxn ang="0">
                    <a:pos x="26" y="13"/>
                  </a:cxn>
                  <a:cxn ang="0">
                    <a:pos x="0" y="13"/>
                  </a:cxn>
                  <a:cxn ang="0">
                    <a:pos x="27" y="0"/>
                  </a:cxn>
                </a:cxnLst>
                <a:rect l="0" t="0" r="r" b="b"/>
                <a:pathLst>
                  <a:path w="27" h="13">
                    <a:moveTo>
                      <a:pt x="26" y="13"/>
                    </a:moveTo>
                    <a:lnTo>
                      <a:pt x="0" y="13"/>
                    </a:lnTo>
                    <a:lnTo>
                      <a:pt x="27" y="0"/>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59"/>
              <p:cNvSpPr>
                <a:spLocks/>
              </p:cNvSpPr>
              <p:nvPr userDrawn="1"/>
            </p:nvSpPr>
            <p:spPr bwMode="auto">
              <a:xfrm>
                <a:off x="4803775" y="6175509"/>
                <a:ext cx="74613" cy="39688"/>
              </a:xfrm>
              <a:custGeom>
                <a:avLst/>
                <a:gdLst/>
                <a:ahLst/>
                <a:cxnLst>
                  <a:cxn ang="0">
                    <a:pos x="0" y="0"/>
                  </a:cxn>
                  <a:cxn ang="0">
                    <a:pos x="47" y="25"/>
                  </a:cxn>
                  <a:cxn ang="0">
                    <a:pos x="3" y="25"/>
                  </a:cxn>
                </a:cxnLst>
                <a:rect l="0" t="0" r="r" b="b"/>
                <a:pathLst>
                  <a:path w="47" h="25">
                    <a:moveTo>
                      <a:pt x="0" y="0"/>
                    </a:moveTo>
                    <a:lnTo>
                      <a:pt x="47" y="25"/>
                    </a:lnTo>
                    <a:lnTo>
                      <a:pt x="3" y="25"/>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60"/>
              <p:cNvSpPr>
                <a:spLocks/>
              </p:cNvSpPr>
              <p:nvPr userDrawn="1"/>
            </p:nvSpPr>
            <p:spPr bwMode="auto">
              <a:xfrm>
                <a:off x="4800600" y="6119946"/>
                <a:ext cx="85725" cy="30163"/>
              </a:xfrm>
              <a:custGeom>
                <a:avLst/>
                <a:gdLst/>
                <a:ahLst/>
                <a:cxnLst>
                  <a:cxn ang="0">
                    <a:pos x="0" y="0"/>
                  </a:cxn>
                  <a:cxn ang="0">
                    <a:pos x="54" y="19"/>
                  </a:cxn>
                  <a:cxn ang="0">
                    <a:pos x="0" y="19"/>
                  </a:cxn>
                </a:cxnLst>
                <a:rect l="0" t="0" r="r" b="b"/>
                <a:pathLst>
                  <a:path w="54" h="19">
                    <a:moveTo>
                      <a:pt x="0" y="0"/>
                    </a:moveTo>
                    <a:lnTo>
                      <a:pt x="54" y="19"/>
                    </a:lnTo>
                    <a:lnTo>
                      <a:pt x="0" y="19"/>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61"/>
              <p:cNvSpPr>
                <a:spLocks/>
              </p:cNvSpPr>
              <p:nvPr userDrawn="1"/>
            </p:nvSpPr>
            <p:spPr bwMode="auto">
              <a:xfrm>
                <a:off x="4778375" y="5970721"/>
                <a:ext cx="44450" cy="20638"/>
              </a:xfrm>
              <a:custGeom>
                <a:avLst/>
                <a:gdLst/>
                <a:ahLst/>
                <a:cxnLst>
                  <a:cxn ang="0">
                    <a:pos x="0" y="13"/>
                  </a:cxn>
                  <a:cxn ang="0">
                    <a:pos x="28" y="13"/>
                  </a:cxn>
                  <a:cxn ang="0">
                    <a:pos x="0" y="0"/>
                  </a:cxn>
                </a:cxnLst>
                <a:rect l="0" t="0" r="r" b="b"/>
                <a:pathLst>
                  <a:path w="28" h="13">
                    <a:moveTo>
                      <a:pt x="0" y="13"/>
                    </a:moveTo>
                    <a:lnTo>
                      <a:pt x="28" y="13"/>
                    </a:lnTo>
                    <a:lnTo>
                      <a:pt x="0" y="0"/>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62"/>
              <p:cNvSpPr>
                <a:spLocks/>
              </p:cNvSpPr>
              <p:nvPr userDrawn="1"/>
            </p:nvSpPr>
            <p:spPr bwMode="auto">
              <a:xfrm>
                <a:off x="4705350" y="5958021"/>
                <a:ext cx="69850" cy="134938"/>
              </a:xfrm>
              <a:custGeom>
                <a:avLst/>
                <a:gdLst/>
                <a:ahLst/>
                <a:cxnLst>
                  <a:cxn ang="0">
                    <a:pos x="34" y="0"/>
                  </a:cxn>
                  <a:cxn ang="0">
                    <a:pos x="7" y="21"/>
                  </a:cxn>
                  <a:cxn ang="0">
                    <a:pos x="36" y="41"/>
                  </a:cxn>
                  <a:cxn ang="0">
                    <a:pos x="0" y="69"/>
                  </a:cxn>
                </a:cxnLst>
                <a:rect l="0" t="0" r="r" b="b"/>
                <a:pathLst>
                  <a:path w="36" h="69">
                    <a:moveTo>
                      <a:pt x="34" y="0"/>
                    </a:moveTo>
                    <a:cubicBezTo>
                      <a:pt x="32" y="1"/>
                      <a:pt x="7" y="21"/>
                      <a:pt x="7" y="21"/>
                    </a:cubicBezTo>
                    <a:cubicBezTo>
                      <a:pt x="36" y="41"/>
                      <a:pt x="36" y="41"/>
                      <a:pt x="36" y="41"/>
                    </a:cubicBezTo>
                    <a:cubicBezTo>
                      <a:pt x="0" y="69"/>
                      <a:pt x="0" y="69"/>
                      <a:pt x="0" y="69"/>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63"/>
              <p:cNvSpPr>
                <a:spLocks/>
              </p:cNvSpPr>
              <p:nvPr userDrawn="1"/>
            </p:nvSpPr>
            <p:spPr bwMode="auto">
              <a:xfrm>
                <a:off x="4695825" y="5872296"/>
                <a:ext cx="95250" cy="80963"/>
              </a:xfrm>
              <a:custGeom>
                <a:avLst/>
                <a:gdLst/>
                <a:ahLst/>
                <a:cxnLst>
                  <a:cxn ang="0">
                    <a:pos x="15" y="51"/>
                  </a:cxn>
                  <a:cxn ang="0">
                    <a:pos x="0" y="51"/>
                  </a:cxn>
                  <a:cxn ang="0">
                    <a:pos x="30" y="0"/>
                  </a:cxn>
                  <a:cxn ang="0">
                    <a:pos x="60" y="42"/>
                  </a:cxn>
                </a:cxnLst>
                <a:rect l="0" t="0" r="r" b="b"/>
                <a:pathLst>
                  <a:path w="60" h="51">
                    <a:moveTo>
                      <a:pt x="15" y="51"/>
                    </a:moveTo>
                    <a:lnTo>
                      <a:pt x="0" y="51"/>
                    </a:lnTo>
                    <a:lnTo>
                      <a:pt x="30" y="0"/>
                    </a:lnTo>
                    <a:lnTo>
                      <a:pt x="60" y="42"/>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64"/>
              <p:cNvSpPr>
                <a:spLocks/>
              </p:cNvSpPr>
              <p:nvPr userDrawn="1"/>
            </p:nvSpPr>
            <p:spPr bwMode="auto">
              <a:xfrm>
                <a:off x="4206875" y="5989771"/>
                <a:ext cx="139700" cy="157163"/>
              </a:xfrm>
              <a:custGeom>
                <a:avLst/>
                <a:gdLst/>
                <a:ahLst/>
                <a:cxnLst>
                  <a:cxn ang="0">
                    <a:pos x="0" y="64"/>
                  </a:cxn>
                  <a:cxn ang="0">
                    <a:pos x="67" y="14"/>
                  </a:cxn>
                  <a:cxn ang="0">
                    <a:pos x="0" y="64"/>
                  </a:cxn>
                </a:cxnLst>
                <a:rect l="0" t="0" r="r" b="b"/>
                <a:pathLst>
                  <a:path w="73" h="81">
                    <a:moveTo>
                      <a:pt x="0" y="64"/>
                    </a:moveTo>
                    <a:cubicBezTo>
                      <a:pt x="10" y="48"/>
                      <a:pt x="73" y="81"/>
                      <a:pt x="67" y="14"/>
                    </a:cubicBezTo>
                    <a:cubicBezTo>
                      <a:pt x="64" y="37"/>
                      <a:pt x="7" y="0"/>
                      <a:pt x="0" y="64"/>
                    </a:cubicBezTo>
                    <a:close/>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65"/>
              <p:cNvSpPr>
                <a:spLocks/>
              </p:cNvSpPr>
              <p:nvPr userDrawn="1"/>
            </p:nvSpPr>
            <p:spPr bwMode="auto">
              <a:xfrm>
                <a:off x="4343400" y="6058034"/>
                <a:ext cx="107950" cy="120650"/>
              </a:xfrm>
              <a:custGeom>
                <a:avLst/>
                <a:gdLst/>
                <a:ahLst/>
                <a:cxnLst>
                  <a:cxn ang="0">
                    <a:pos x="0" y="48"/>
                  </a:cxn>
                  <a:cxn ang="0">
                    <a:pos x="52" y="10"/>
                  </a:cxn>
                  <a:cxn ang="0">
                    <a:pos x="0" y="48"/>
                  </a:cxn>
                </a:cxnLst>
                <a:rect l="0" t="0" r="r" b="b"/>
                <a:pathLst>
                  <a:path w="56" h="62">
                    <a:moveTo>
                      <a:pt x="0" y="48"/>
                    </a:moveTo>
                    <a:cubicBezTo>
                      <a:pt x="8" y="36"/>
                      <a:pt x="56" y="62"/>
                      <a:pt x="52" y="10"/>
                    </a:cubicBezTo>
                    <a:cubicBezTo>
                      <a:pt x="49" y="28"/>
                      <a:pt x="5" y="0"/>
                      <a:pt x="0" y="48"/>
                    </a:cubicBezTo>
                    <a:close/>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66"/>
              <p:cNvSpPr>
                <a:spLocks/>
              </p:cNvSpPr>
              <p:nvPr userDrawn="1"/>
            </p:nvSpPr>
            <p:spPr bwMode="auto">
              <a:xfrm>
                <a:off x="4135438" y="6140584"/>
                <a:ext cx="179388" cy="166688"/>
              </a:xfrm>
              <a:custGeom>
                <a:avLst/>
                <a:gdLst/>
                <a:ahLst/>
                <a:cxnLst>
                  <a:cxn ang="0">
                    <a:pos x="93" y="86"/>
                  </a:cxn>
                  <a:cxn ang="0">
                    <a:pos x="78" y="42"/>
                  </a:cxn>
                  <a:cxn ang="0">
                    <a:pos x="73" y="0"/>
                  </a:cxn>
                  <a:cxn ang="0">
                    <a:pos x="20" y="0"/>
                  </a:cxn>
                  <a:cxn ang="0">
                    <a:pos x="14" y="42"/>
                  </a:cxn>
                  <a:cxn ang="0">
                    <a:pos x="0" y="86"/>
                  </a:cxn>
                </a:cxnLst>
                <a:rect l="0" t="0" r="r" b="b"/>
                <a:pathLst>
                  <a:path w="93" h="86">
                    <a:moveTo>
                      <a:pt x="93" y="86"/>
                    </a:moveTo>
                    <a:cubicBezTo>
                      <a:pt x="93" y="86"/>
                      <a:pt x="85" y="67"/>
                      <a:pt x="78" y="42"/>
                    </a:cubicBezTo>
                    <a:cubicBezTo>
                      <a:pt x="75" y="28"/>
                      <a:pt x="73" y="0"/>
                      <a:pt x="73" y="0"/>
                    </a:cubicBezTo>
                    <a:cubicBezTo>
                      <a:pt x="20" y="0"/>
                      <a:pt x="20" y="0"/>
                      <a:pt x="20" y="0"/>
                    </a:cubicBezTo>
                    <a:cubicBezTo>
                      <a:pt x="20" y="0"/>
                      <a:pt x="18" y="28"/>
                      <a:pt x="14" y="42"/>
                    </a:cubicBezTo>
                    <a:cubicBezTo>
                      <a:pt x="8" y="67"/>
                      <a:pt x="0" y="86"/>
                      <a:pt x="0" y="86"/>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67"/>
              <p:cNvSpPr>
                <a:spLocks/>
              </p:cNvSpPr>
              <p:nvPr userDrawn="1"/>
            </p:nvSpPr>
            <p:spPr bwMode="auto">
              <a:xfrm>
                <a:off x="3735388" y="6059621"/>
                <a:ext cx="127000" cy="201613"/>
              </a:xfrm>
              <a:custGeom>
                <a:avLst/>
                <a:gdLst/>
                <a:ahLst/>
                <a:cxnLst>
                  <a:cxn ang="0">
                    <a:pos x="66" y="1"/>
                  </a:cxn>
                  <a:cxn ang="0">
                    <a:pos x="17" y="17"/>
                  </a:cxn>
                  <a:cxn ang="0">
                    <a:pos x="0" y="58"/>
                  </a:cxn>
                  <a:cxn ang="0">
                    <a:pos x="8" y="88"/>
                  </a:cxn>
                  <a:cxn ang="0">
                    <a:pos x="34" y="103"/>
                  </a:cxn>
                </a:cxnLst>
                <a:rect l="0" t="0" r="r" b="b"/>
                <a:pathLst>
                  <a:path w="66" h="103">
                    <a:moveTo>
                      <a:pt x="66" y="1"/>
                    </a:moveTo>
                    <a:cubicBezTo>
                      <a:pt x="47" y="0"/>
                      <a:pt x="30" y="6"/>
                      <a:pt x="17" y="17"/>
                    </a:cubicBezTo>
                    <a:cubicBezTo>
                      <a:pt x="6" y="26"/>
                      <a:pt x="0" y="40"/>
                      <a:pt x="0" y="58"/>
                    </a:cubicBezTo>
                    <a:cubicBezTo>
                      <a:pt x="0" y="70"/>
                      <a:pt x="3" y="80"/>
                      <a:pt x="8" y="88"/>
                    </a:cubicBezTo>
                    <a:cubicBezTo>
                      <a:pt x="13" y="96"/>
                      <a:pt x="25" y="103"/>
                      <a:pt x="34" y="103"/>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68"/>
              <p:cNvSpPr>
                <a:spLocks/>
              </p:cNvSpPr>
              <p:nvPr userDrawn="1"/>
            </p:nvSpPr>
            <p:spPr bwMode="auto">
              <a:xfrm>
                <a:off x="3714750" y="6040571"/>
                <a:ext cx="147638" cy="250825"/>
              </a:xfrm>
              <a:custGeom>
                <a:avLst/>
                <a:gdLst/>
                <a:ahLst/>
                <a:cxnLst>
                  <a:cxn ang="0">
                    <a:pos x="77" y="0"/>
                  </a:cxn>
                  <a:cxn ang="0">
                    <a:pos x="21" y="19"/>
                  </a:cxn>
                  <a:cxn ang="0">
                    <a:pos x="0" y="68"/>
                  </a:cxn>
                  <a:cxn ang="0">
                    <a:pos x="10" y="104"/>
                  </a:cxn>
                  <a:cxn ang="0">
                    <a:pos x="45" y="129"/>
                  </a:cxn>
                </a:cxnLst>
                <a:rect l="0" t="0" r="r" b="b"/>
                <a:pathLst>
                  <a:path w="77" h="129">
                    <a:moveTo>
                      <a:pt x="77" y="0"/>
                    </a:moveTo>
                    <a:cubicBezTo>
                      <a:pt x="56" y="0"/>
                      <a:pt x="36" y="6"/>
                      <a:pt x="21" y="19"/>
                    </a:cubicBezTo>
                    <a:cubicBezTo>
                      <a:pt x="8" y="30"/>
                      <a:pt x="0" y="46"/>
                      <a:pt x="0" y="68"/>
                    </a:cubicBezTo>
                    <a:cubicBezTo>
                      <a:pt x="0" y="82"/>
                      <a:pt x="4" y="94"/>
                      <a:pt x="10" y="104"/>
                    </a:cubicBezTo>
                    <a:cubicBezTo>
                      <a:pt x="17" y="114"/>
                      <a:pt x="30" y="125"/>
                      <a:pt x="45" y="129"/>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70"/>
              <p:cNvSpPr>
                <a:spLocks/>
              </p:cNvSpPr>
              <p:nvPr userDrawn="1"/>
            </p:nvSpPr>
            <p:spPr bwMode="auto">
              <a:xfrm>
                <a:off x="3802063" y="6291396"/>
                <a:ext cx="19050" cy="25400"/>
              </a:xfrm>
              <a:custGeom>
                <a:avLst/>
                <a:gdLst/>
                <a:ahLst/>
                <a:cxnLst>
                  <a:cxn ang="0">
                    <a:pos x="10" y="13"/>
                  </a:cxn>
                  <a:cxn ang="0">
                    <a:pos x="0" y="0"/>
                  </a:cxn>
                </a:cxnLst>
                <a:rect l="0" t="0" r="r" b="b"/>
                <a:pathLst>
                  <a:path w="10" h="13">
                    <a:moveTo>
                      <a:pt x="10" y="13"/>
                    </a:moveTo>
                    <a:cubicBezTo>
                      <a:pt x="5" y="13"/>
                      <a:pt x="1" y="7"/>
                      <a:pt x="0" y="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71"/>
              <p:cNvSpPr>
                <a:spLocks/>
              </p:cNvSpPr>
              <p:nvPr userDrawn="1"/>
            </p:nvSpPr>
            <p:spPr bwMode="auto">
              <a:xfrm>
                <a:off x="3802063" y="6162809"/>
                <a:ext cx="219075" cy="98425"/>
              </a:xfrm>
              <a:custGeom>
                <a:avLst/>
                <a:gdLst/>
                <a:ahLst/>
                <a:cxnLst>
                  <a:cxn ang="0">
                    <a:pos x="114" y="29"/>
                  </a:cxn>
                  <a:cxn ang="0">
                    <a:pos x="63" y="0"/>
                  </a:cxn>
                  <a:cxn ang="0">
                    <a:pos x="10" y="37"/>
                  </a:cxn>
                  <a:cxn ang="0">
                    <a:pos x="0" y="50"/>
                  </a:cxn>
                </a:cxnLst>
                <a:rect l="0" t="0" r="r" b="b"/>
                <a:pathLst>
                  <a:path w="114" h="50">
                    <a:moveTo>
                      <a:pt x="114" y="29"/>
                    </a:moveTo>
                    <a:cubicBezTo>
                      <a:pt x="108" y="6"/>
                      <a:pt x="95" y="1"/>
                      <a:pt x="63" y="0"/>
                    </a:cubicBezTo>
                    <a:cubicBezTo>
                      <a:pt x="27" y="0"/>
                      <a:pt x="15" y="7"/>
                      <a:pt x="10" y="37"/>
                    </a:cubicBezTo>
                    <a:cubicBezTo>
                      <a:pt x="5" y="37"/>
                      <a:pt x="2" y="43"/>
                      <a:pt x="0" y="5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72"/>
              <p:cNvSpPr>
                <a:spLocks/>
              </p:cNvSpPr>
              <p:nvPr userDrawn="1"/>
            </p:nvSpPr>
            <p:spPr bwMode="auto">
              <a:xfrm>
                <a:off x="3851275" y="6237421"/>
                <a:ext cx="201613" cy="79375"/>
              </a:xfrm>
              <a:custGeom>
                <a:avLst/>
                <a:gdLst/>
                <a:ahLst/>
                <a:cxnLst>
                  <a:cxn ang="0">
                    <a:pos x="0" y="0"/>
                  </a:cxn>
                  <a:cxn ang="0">
                    <a:pos x="89" y="0"/>
                  </a:cxn>
                  <a:cxn ang="0">
                    <a:pos x="89" y="41"/>
                  </a:cxn>
                </a:cxnLst>
                <a:rect l="0" t="0" r="r" b="b"/>
                <a:pathLst>
                  <a:path w="104" h="41">
                    <a:moveTo>
                      <a:pt x="0" y="0"/>
                    </a:moveTo>
                    <a:cubicBezTo>
                      <a:pt x="89" y="0"/>
                      <a:pt x="89" y="0"/>
                      <a:pt x="89" y="0"/>
                    </a:cubicBezTo>
                    <a:cubicBezTo>
                      <a:pt x="104" y="0"/>
                      <a:pt x="103" y="41"/>
                      <a:pt x="89" y="41"/>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73"/>
              <p:cNvSpPr>
                <a:spLocks/>
              </p:cNvSpPr>
              <p:nvPr userDrawn="1"/>
            </p:nvSpPr>
            <p:spPr bwMode="auto">
              <a:xfrm>
                <a:off x="3811588" y="6264409"/>
                <a:ext cx="46038" cy="23813"/>
              </a:xfrm>
              <a:custGeom>
                <a:avLst/>
                <a:gdLst/>
                <a:ahLst/>
                <a:cxnLst>
                  <a:cxn ang="0">
                    <a:pos x="13" y="0"/>
                  </a:cxn>
                  <a:cxn ang="0">
                    <a:pos x="7" y="0"/>
                  </a:cxn>
                  <a:cxn ang="0">
                    <a:pos x="7" y="12"/>
                  </a:cxn>
                  <a:cxn ang="0">
                    <a:pos x="18" y="12"/>
                  </a:cxn>
                  <a:cxn ang="0">
                    <a:pos x="24" y="8"/>
                  </a:cxn>
                  <a:cxn ang="0">
                    <a:pos x="13" y="0"/>
                  </a:cxn>
                </a:cxnLst>
                <a:rect l="0" t="0" r="r" b="b"/>
                <a:pathLst>
                  <a:path w="24" h="12">
                    <a:moveTo>
                      <a:pt x="13" y="0"/>
                    </a:moveTo>
                    <a:cubicBezTo>
                      <a:pt x="7" y="0"/>
                      <a:pt x="7" y="0"/>
                      <a:pt x="7" y="0"/>
                    </a:cubicBezTo>
                    <a:cubicBezTo>
                      <a:pt x="0" y="0"/>
                      <a:pt x="0" y="12"/>
                      <a:pt x="7" y="12"/>
                    </a:cubicBezTo>
                    <a:cubicBezTo>
                      <a:pt x="18" y="12"/>
                      <a:pt x="18" y="12"/>
                      <a:pt x="18" y="12"/>
                    </a:cubicBezTo>
                    <a:cubicBezTo>
                      <a:pt x="23" y="12"/>
                      <a:pt x="24" y="10"/>
                      <a:pt x="24" y="8"/>
                    </a:cubicBezTo>
                    <a:cubicBezTo>
                      <a:pt x="24" y="5"/>
                      <a:pt x="18" y="0"/>
                      <a:pt x="13" y="0"/>
                    </a:cubicBezTo>
                    <a:close/>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74"/>
              <p:cNvSpPr>
                <a:spLocks/>
              </p:cNvSpPr>
              <p:nvPr userDrawn="1"/>
            </p:nvSpPr>
            <p:spPr bwMode="auto">
              <a:xfrm>
                <a:off x="3983038" y="6265996"/>
                <a:ext cx="46038" cy="22225"/>
              </a:xfrm>
              <a:custGeom>
                <a:avLst/>
                <a:gdLst/>
                <a:ahLst/>
                <a:cxnLst>
                  <a:cxn ang="0">
                    <a:pos x="17" y="0"/>
                  </a:cxn>
                  <a:cxn ang="0">
                    <a:pos x="11" y="0"/>
                  </a:cxn>
                  <a:cxn ang="0">
                    <a:pos x="0" y="7"/>
                  </a:cxn>
                  <a:cxn ang="0">
                    <a:pos x="6" y="11"/>
                  </a:cxn>
                  <a:cxn ang="0">
                    <a:pos x="17" y="11"/>
                  </a:cxn>
                  <a:cxn ang="0">
                    <a:pos x="17" y="0"/>
                  </a:cxn>
                </a:cxnLst>
                <a:rect l="0" t="0" r="r" b="b"/>
                <a:pathLst>
                  <a:path w="24" h="11">
                    <a:moveTo>
                      <a:pt x="17" y="0"/>
                    </a:moveTo>
                    <a:cubicBezTo>
                      <a:pt x="11" y="0"/>
                      <a:pt x="11" y="0"/>
                      <a:pt x="11" y="0"/>
                    </a:cubicBezTo>
                    <a:cubicBezTo>
                      <a:pt x="6" y="0"/>
                      <a:pt x="0" y="4"/>
                      <a:pt x="0" y="7"/>
                    </a:cubicBezTo>
                    <a:cubicBezTo>
                      <a:pt x="0" y="9"/>
                      <a:pt x="1" y="11"/>
                      <a:pt x="6" y="11"/>
                    </a:cubicBezTo>
                    <a:cubicBezTo>
                      <a:pt x="17" y="11"/>
                      <a:pt x="17" y="11"/>
                      <a:pt x="17" y="11"/>
                    </a:cubicBezTo>
                    <a:cubicBezTo>
                      <a:pt x="24" y="11"/>
                      <a:pt x="24" y="0"/>
                      <a:pt x="17" y="0"/>
                    </a:cubicBezTo>
                    <a:close/>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Line 75"/>
              <p:cNvSpPr>
                <a:spLocks noChangeShapeType="1"/>
              </p:cNvSpPr>
              <p:nvPr userDrawn="1"/>
            </p:nvSpPr>
            <p:spPr bwMode="auto">
              <a:xfrm flipV="1">
                <a:off x="4025900" y="6034221"/>
                <a:ext cx="1588" cy="33338"/>
              </a:xfrm>
              <a:prstGeom prst="line">
                <a:avLst/>
              </a:pr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76"/>
              <p:cNvSpPr>
                <a:spLocks/>
              </p:cNvSpPr>
              <p:nvPr userDrawn="1"/>
            </p:nvSpPr>
            <p:spPr bwMode="auto">
              <a:xfrm>
                <a:off x="3862388" y="5980246"/>
                <a:ext cx="163513" cy="60325"/>
              </a:xfrm>
              <a:custGeom>
                <a:avLst/>
                <a:gdLst/>
                <a:ahLst/>
                <a:cxnLst>
                  <a:cxn ang="0">
                    <a:pos x="84" y="10"/>
                  </a:cxn>
                  <a:cxn ang="0">
                    <a:pos x="84" y="0"/>
                  </a:cxn>
                  <a:cxn ang="0">
                    <a:pos x="71" y="0"/>
                  </a:cxn>
                  <a:cxn ang="0">
                    <a:pos x="66" y="1"/>
                  </a:cxn>
                  <a:cxn ang="0">
                    <a:pos x="37" y="21"/>
                  </a:cxn>
                  <a:cxn ang="0">
                    <a:pos x="5" y="26"/>
                  </a:cxn>
                  <a:cxn ang="0">
                    <a:pos x="0" y="31"/>
                  </a:cxn>
                </a:cxnLst>
                <a:rect l="0" t="0" r="r" b="b"/>
                <a:pathLst>
                  <a:path w="84" h="31">
                    <a:moveTo>
                      <a:pt x="84" y="10"/>
                    </a:moveTo>
                    <a:cubicBezTo>
                      <a:pt x="84" y="0"/>
                      <a:pt x="84" y="0"/>
                      <a:pt x="84" y="0"/>
                    </a:cubicBezTo>
                    <a:cubicBezTo>
                      <a:pt x="71" y="0"/>
                      <a:pt x="71" y="0"/>
                      <a:pt x="71" y="0"/>
                    </a:cubicBezTo>
                    <a:cubicBezTo>
                      <a:pt x="69" y="0"/>
                      <a:pt x="67" y="0"/>
                      <a:pt x="66" y="1"/>
                    </a:cubicBezTo>
                    <a:cubicBezTo>
                      <a:pt x="37" y="21"/>
                      <a:pt x="37" y="21"/>
                      <a:pt x="37" y="21"/>
                    </a:cubicBezTo>
                    <a:cubicBezTo>
                      <a:pt x="5" y="26"/>
                      <a:pt x="5" y="26"/>
                      <a:pt x="5" y="26"/>
                    </a:cubicBezTo>
                    <a:cubicBezTo>
                      <a:pt x="2" y="26"/>
                      <a:pt x="0" y="28"/>
                      <a:pt x="0" y="31"/>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77"/>
              <p:cNvSpPr>
                <a:spLocks/>
              </p:cNvSpPr>
              <p:nvPr userDrawn="1"/>
            </p:nvSpPr>
            <p:spPr bwMode="auto">
              <a:xfrm>
                <a:off x="3862388" y="6061209"/>
                <a:ext cx="163513" cy="63500"/>
              </a:xfrm>
              <a:custGeom>
                <a:avLst/>
                <a:gdLst/>
                <a:ahLst/>
                <a:cxnLst>
                  <a:cxn ang="0">
                    <a:pos x="84" y="20"/>
                  </a:cxn>
                  <a:cxn ang="0">
                    <a:pos x="84" y="32"/>
                  </a:cxn>
                  <a:cxn ang="0">
                    <a:pos x="71" y="32"/>
                  </a:cxn>
                  <a:cxn ang="0">
                    <a:pos x="66" y="30"/>
                  </a:cxn>
                  <a:cxn ang="0">
                    <a:pos x="37" y="10"/>
                  </a:cxn>
                  <a:cxn ang="0">
                    <a:pos x="5" y="5"/>
                  </a:cxn>
                  <a:cxn ang="0">
                    <a:pos x="0" y="0"/>
                  </a:cxn>
                </a:cxnLst>
                <a:rect l="0" t="0" r="r" b="b"/>
                <a:pathLst>
                  <a:path w="84" h="32">
                    <a:moveTo>
                      <a:pt x="84" y="20"/>
                    </a:moveTo>
                    <a:cubicBezTo>
                      <a:pt x="84" y="32"/>
                      <a:pt x="84" y="32"/>
                      <a:pt x="84" y="32"/>
                    </a:cubicBezTo>
                    <a:cubicBezTo>
                      <a:pt x="71" y="32"/>
                      <a:pt x="71" y="32"/>
                      <a:pt x="71" y="32"/>
                    </a:cubicBezTo>
                    <a:cubicBezTo>
                      <a:pt x="69" y="31"/>
                      <a:pt x="67" y="31"/>
                      <a:pt x="66" y="30"/>
                    </a:cubicBezTo>
                    <a:cubicBezTo>
                      <a:pt x="37" y="10"/>
                      <a:pt x="37" y="10"/>
                      <a:pt x="37" y="10"/>
                    </a:cubicBezTo>
                    <a:cubicBezTo>
                      <a:pt x="5" y="5"/>
                      <a:pt x="5" y="5"/>
                      <a:pt x="5" y="5"/>
                    </a:cubicBezTo>
                    <a:cubicBezTo>
                      <a:pt x="2" y="5"/>
                      <a:pt x="0" y="3"/>
                      <a:pt x="0" y="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78"/>
              <p:cNvSpPr>
                <a:spLocks/>
              </p:cNvSpPr>
              <p:nvPr userDrawn="1"/>
            </p:nvSpPr>
            <p:spPr bwMode="auto">
              <a:xfrm>
                <a:off x="4025900" y="5999296"/>
                <a:ext cx="85725" cy="34925"/>
              </a:xfrm>
              <a:custGeom>
                <a:avLst/>
                <a:gdLst/>
                <a:ahLst/>
                <a:cxnLst>
                  <a:cxn ang="0">
                    <a:pos x="0" y="18"/>
                  </a:cxn>
                  <a:cxn ang="0">
                    <a:pos x="36" y="18"/>
                  </a:cxn>
                  <a:cxn ang="0">
                    <a:pos x="45" y="9"/>
                  </a:cxn>
                  <a:cxn ang="0">
                    <a:pos x="36" y="0"/>
                  </a:cxn>
                  <a:cxn ang="0">
                    <a:pos x="0" y="0"/>
                  </a:cxn>
                </a:cxnLst>
                <a:rect l="0" t="0" r="r" b="b"/>
                <a:pathLst>
                  <a:path w="45" h="18">
                    <a:moveTo>
                      <a:pt x="0" y="18"/>
                    </a:moveTo>
                    <a:cubicBezTo>
                      <a:pt x="36" y="18"/>
                      <a:pt x="36" y="18"/>
                      <a:pt x="36" y="18"/>
                    </a:cubicBezTo>
                    <a:cubicBezTo>
                      <a:pt x="41" y="18"/>
                      <a:pt x="45" y="14"/>
                      <a:pt x="45" y="9"/>
                    </a:cubicBezTo>
                    <a:cubicBezTo>
                      <a:pt x="45" y="4"/>
                      <a:pt x="41" y="0"/>
                      <a:pt x="36" y="0"/>
                    </a:cubicBezTo>
                    <a:cubicBezTo>
                      <a:pt x="0" y="0"/>
                      <a:pt x="0" y="0"/>
                      <a:pt x="0" y="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79"/>
              <p:cNvSpPr>
                <a:spLocks/>
              </p:cNvSpPr>
              <p:nvPr userDrawn="1"/>
            </p:nvSpPr>
            <p:spPr bwMode="auto">
              <a:xfrm>
                <a:off x="4025900" y="6067559"/>
                <a:ext cx="85725" cy="33338"/>
              </a:xfrm>
              <a:custGeom>
                <a:avLst/>
                <a:gdLst/>
                <a:ahLst/>
                <a:cxnLst>
                  <a:cxn ang="0">
                    <a:pos x="0" y="17"/>
                  </a:cxn>
                  <a:cxn ang="0">
                    <a:pos x="36" y="17"/>
                  </a:cxn>
                  <a:cxn ang="0">
                    <a:pos x="45" y="9"/>
                  </a:cxn>
                  <a:cxn ang="0">
                    <a:pos x="36" y="0"/>
                  </a:cxn>
                  <a:cxn ang="0">
                    <a:pos x="0" y="0"/>
                  </a:cxn>
                </a:cxnLst>
                <a:rect l="0" t="0" r="r" b="b"/>
                <a:pathLst>
                  <a:path w="45" h="17">
                    <a:moveTo>
                      <a:pt x="0" y="17"/>
                    </a:moveTo>
                    <a:cubicBezTo>
                      <a:pt x="36" y="17"/>
                      <a:pt x="36" y="17"/>
                      <a:pt x="36" y="17"/>
                    </a:cubicBezTo>
                    <a:cubicBezTo>
                      <a:pt x="41" y="17"/>
                      <a:pt x="45" y="13"/>
                      <a:pt x="45" y="9"/>
                    </a:cubicBezTo>
                    <a:cubicBezTo>
                      <a:pt x="45" y="4"/>
                      <a:pt x="41" y="0"/>
                      <a:pt x="36" y="0"/>
                    </a:cubicBezTo>
                    <a:cubicBezTo>
                      <a:pt x="0" y="0"/>
                      <a:pt x="0" y="0"/>
                      <a:pt x="0" y="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Line 81"/>
              <p:cNvSpPr>
                <a:spLocks noChangeShapeType="1"/>
              </p:cNvSpPr>
              <p:nvPr userDrawn="1"/>
            </p:nvSpPr>
            <p:spPr bwMode="auto">
              <a:xfrm flipH="1">
                <a:off x="5067300" y="6026284"/>
                <a:ext cx="66675" cy="209550"/>
              </a:xfrm>
              <a:prstGeom prst="line">
                <a:avLst/>
              </a:pr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Line 82"/>
              <p:cNvSpPr>
                <a:spLocks noChangeShapeType="1"/>
              </p:cNvSpPr>
              <p:nvPr userDrawn="1"/>
            </p:nvSpPr>
            <p:spPr bwMode="auto">
              <a:xfrm>
                <a:off x="5013325" y="6099309"/>
                <a:ext cx="285750" cy="1588"/>
              </a:xfrm>
              <a:prstGeom prst="line">
                <a:avLst/>
              </a:pr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Line 83"/>
              <p:cNvSpPr>
                <a:spLocks noChangeShapeType="1"/>
              </p:cNvSpPr>
              <p:nvPr userDrawn="1"/>
            </p:nvSpPr>
            <p:spPr bwMode="auto">
              <a:xfrm>
                <a:off x="4991100" y="6169159"/>
                <a:ext cx="287338" cy="1588"/>
              </a:xfrm>
              <a:prstGeom prst="line">
                <a:avLst/>
              </a:pr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84"/>
              <p:cNvSpPr>
                <a:spLocks/>
              </p:cNvSpPr>
              <p:nvPr userDrawn="1"/>
            </p:nvSpPr>
            <p:spPr bwMode="auto">
              <a:xfrm>
                <a:off x="5813425" y="5859596"/>
                <a:ext cx="74613" cy="163513"/>
              </a:xfrm>
              <a:custGeom>
                <a:avLst/>
                <a:gdLst/>
                <a:ahLst/>
                <a:cxnLst>
                  <a:cxn ang="0">
                    <a:pos x="16" y="84"/>
                  </a:cxn>
                  <a:cxn ang="0">
                    <a:pos x="5" y="39"/>
                  </a:cxn>
                  <a:cxn ang="0">
                    <a:pos x="12" y="9"/>
                  </a:cxn>
                  <a:cxn ang="0">
                    <a:pos x="29" y="0"/>
                  </a:cxn>
                  <a:cxn ang="0">
                    <a:pos x="25" y="11"/>
                  </a:cxn>
                  <a:cxn ang="0">
                    <a:pos x="29" y="36"/>
                  </a:cxn>
                  <a:cxn ang="0">
                    <a:pos x="23" y="72"/>
                  </a:cxn>
                </a:cxnLst>
                <a:rect l="0" t="0" r="r" b="b"/>
                <a:pathLst>
                  <a:path w="38" h="84">
                    <a:moveTo>
                      <a:pt x="16" y="84"/>
                    </a:moveTo>
                    <a:cubicBezTo>
                      <a:pt x="16" y="84"/>
                      <a:pt x="16" y="64"/>
                      <a:pt x="5" y="39"/>
                    </a:cubicBezTo>
                    <a:cubicBezTo>
                      <a:pt x="0" y="27"/>
                      <a:pt x="5" y="16"/>
                      <a:pt x="12" y="9"/>
                    </a:cubicBezTo>
                    <a:cubicBezTo>
                      <a:pt x="19" y="3"/>
                      <a:pt x="30" y="0"/>
                      <a:pt x="29" y="0"/>
                    </a:cubicBezTo>
                    <a:cubicBezTo>
                      <a:pt x="30" y="0"/>
                      <a:pt x="25" y="4"/>
                      <a:pt x="25" y="11"/>
                    </a:cubicBezTo>
                    <a:cubicBezTo>
                      <a:pt x="24" y="17"/>
                      <a:pt x="26" y="27"/>
                      <a:pt x="29" y="36"/>
                    </a:cubicBezTo>
                    <a:cubicBezTo>
                      <a:pt x="38" y="62"/>
                      <a:pt x="23" y="73"/>
                      <a:pt x="23" y="72"/>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85"/>
              <p:cNvSpPr>
                <a:spLocks/>
              </p:cNvSpPr>
              <p:nvPr userDrawn="1"/>
            </p:nvSpPr>
            <p:spPr bwMode="auto">
              <a:xfrm>
                <a:off x="5651500" y="6053271"/>
                <a:ext cx="155575" cy="104775"/>
              </a:xfrm>
              <a:custGeom>
                <a:avLst/>
                <a:gdLst/>
                <a:ahLst/>
                <a:cxnLst>
                  <a:cxn ang="0">
                    <a:pos x="80" y="9"/>
                  </a:cxn>
                  <a:cxn ang="0">
                    <a:pos x="46" y="40"/>
                  </a:cxn>
                  <a:cxn ang="0">
                    <a:pos x="17" y="49"/>
                  </a:cxn>
                  <a:cxn ang="0">
                    <a:pos x="0" y="39"/>
                  </a:cxn>
                  <a:cxn ang="0">
                    <a:pos x="12" y="38"/>
                  </a:cxn>
                  <a:cxn ang="0">
                    <a:pos x="31" y="22"/>
                  </a:cxn>
                  <a:cxn ang="0">
                    <a:pos x="66" y="9"/>
                  </a:cxn>
                </a:cxnLst>
                <a:rect l="0" t="0" r="r" b="b"/>
                <a:pathLst>
                  <a:path w="80" h="53">
                    <a:moveTo>
                      <a:pt x="80" y="9"/>
                    </a:moveTo>
                    <a:cubicBezTo>
                      <a:pt x="80" y="9"/>
                      <a:pt x="62" y="18"/>
                      <a:pt x="46" y="40"/>
                    </a:cubicBezTo>
                    <a:cubicBezTo>
                      <a:pt x="38" y="51"/>
                      <a:pt x="26" y="53"/>
                      <a:pt x="17" y="49"/>
                    </a:cubicBezTo>
                    <a:cubicBezTo>
                      <a:pt x="8" y="47"/>
                      <a:pt x="0" y="38"/>
                      <a:pt x="0" y="39"/>
                    </a:cubicBezTo>
                    <a:cubicBezTo>
                      <a:pt x="0" y="39"/>
                      <a:pt x="5" y="40"/>
                      <a:pt x="12" y="38"/>
                    </a:cubicBezTo>
                    <a:cubicBezTo>
                      <a:pt x="18" y="35"/>
                      <a:pt x="25" y="28"/>
                      <a:pt x="31" y="22"/>
                    </a:cubicBezTo>
                    <a:cubicBezTo>
                      <a:pt x="50" y="0"/>
                      <a:pt x="66" y="8"/>
                      <a:pt x="66" y="9"/>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88"/>
              <p:cNvSpPr>
                <a:spLocks/>
              </p:cNvSpPr>
              <p:nvPr userDrawn="1"/>
            </p:nvSpPr>
            <p:spPr bwMode="auto">
              <a:xfrm>
                <a:off x="5362575" y="6035809"/>
                <a:ext cx="233363" cy="400050"/>
              </a:xfrm>
              <a:custGeom>
                <a:avLst/>
                <a:gdLst/>
                <a:ahLst/>
                <a:cxnLst>
                  <a:cxn ang="0">
                    <a:pos x="40" y="54"/>
                  </a:cxn>
                  <a:cxn ang="0">
                    <a:pos x="0" y="145"/>
                  </a:cxn>
                  <a:cxn ang="0">
                    <a:pos x="60" y="205"/>
                  </a:cxn>
                  <a:cxn ang="0">
                    <a:pos x="121" y="145"/>
                  </a:cxn>
                  <a:cxn ang="0">
                    <a:pos x="60" y="0"/>
                  </a:cxn>
                </a:cxnLst>
                <a:rect l="0" t="0" r="r" b="b"/>
                <a:pathLst>
                  <a:path w="121" h="205">
                    <a:moveTo>
                      <a:pt x="40" y="54"/>
                    </a:moveTo>
                    <a:cubicBezTo>
                      <a:pt x="23" y="83"/>
                      <a:pt x="0" y="111"/>
                      <a:pt x="0" y="145"/>
                    </a:cubicBezTo>
                    <a:cubicBezTo>
                      <a:pt x="0" y="178"/>
                      <a:pt x="27" y="205"/>
                      <a:pt x="60" y="205"/>
                    </a:cubicBezTo>
                    <a:cubicBezTo>
                      <a:pt x="94" y="205"/>
                      <a:pt x="121" y="178"/>
                      <a:pt x="121" y="145"/>
                    </a:cubicBezTo>
                    <a:cubicBezTo>
                      <a:pt x="121" y="96"/>
                      <a:pt x="69" y="56"/>
                      <a:pt x="60" y="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89"/>
              <p:cNvSpPr>
                <a:spLocks/>
              </p:cNvSpPr>
              <p:nvPr userDrawn="1"/>
            </p:nvSpPr>
            <p:spPr bwMode="auto">
              <a:xfrm>
                <a:off x="5489575" y="6159634"/>
                <a:ext cx="71438" cy="198438"/>
              </a:xfrm>
              <a:custGeom>
                <a:avLst/>
                <a:gdLst/>
                <a:ahLst/>
                <a:cxnLst>
                  <a:cxn ang="0">
                    <a:pos x="22" y="101"/>
                  </a:cxn>
                  <a:cxn ang="0">
                    <a:pos x="27" y="102"/>
                  </a:cxn>
                  <a:cxn ang="0">
                    <a:pos x="36" y="82"/>
                  </a:cxn>
                  <a:cxn ang="0">
                    <a:pos x="28" y="52"/>
                  </a:cxn>
                  <a:cxn ang="0">
                    <a:pos x="16" y="31"/>
                  </a:cxn>
                  <a:cxn ang="0">
                    <a:pos x="0" y="0"/>
                  </a:cxn>
                </a:cxnLst>
                <a:rect l="0" t="0" r="r" b="b"/>
                <a:pathLst>
                  <a:path w="37" h="102">
                    <a:moveTo>
                      <a:pt x="22" y="101"/>
                    </a:moveTo>
                    <a:cubicBezTo>
                      <a:pt x="24" y="102"/>
                      <a:pt x="25" y="102"/>
                      <a:pt x="27" y="102"/>
                    </a:cubicBezTo>
                    <a:cubicBezTo>
                      <a:pt x="36" y="100"/>
                      <a:pt x="37" y="89"/>
                      <a:pt x="36" y="82"/>
                    </a:cubicBezTo>
                    <a:cubicBezTo>
                      <a:pt x="36" y="71"/>
                      <a:pt x="33" y="62"/>
                      <a:pt x="28" y="52"/>
                    </a:cubicBezTo>
                    <a:cubicBezTo>
                      <a:pt x="25" y="45"/>
                      <a:pt x="20" y="38"/>
                      <a:pt x="16" y="31"/>
                    </a:cubicBezTo>
                    <a:cubicBezTo>
                      <a:pt x="11" y="23"/>
                      <a:pt x="4" y="11"/>
                      <a:pt x="0" y="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3" name="Freeform 87"/>
            <p:cNvSpPr>
              <a:spLocks/>
            </p:cNvSpPr>
            <p:nvPr userDrawn="1"/>
          </p:nvSpPr>
          <p:spPr bwMode="auto">
            <a:xfrm>
              <a:off x="18" y="6288629"/>
              <a:ext cx="8100000" cy="4355"/>
            </a:xfrm>
            <a:custGeom>
              <a:avLst/>
              <a:gdLst>
                <a:gd name="connsiteX0" fmla="*/ 6 w 10000"/>
                <a:gd name="connsiteY0" fmla="*/ 0 h 600"/>
                <a:gd name="connsiteX1" fmla="*/ 30 w 10000"/>
                <a:gd name="connsiteY1" fmla="*/ 600 h 600"/>
                <a:gd name="connsiteX2" fmla="*/ 248 w 10000"/>
                <a:gd name="connsiteY2" fmla="*/ 600 h 600"/>
                <a:gd name="connsiteX3" fmla="*/ 323 w 10000"/>
                <a:gd name="connsiteY3" fmla="*/ 600 h 600"/>
                <a:gd name="connsiteX4" fmla="*/ 10000 w 10000"/>
                <a:gd name="connsiteY4" fmla="*/ 600 h 600"/>
                <a:gd name="connsiteX0" fmla="*/ 6 w 10000"/>
                <a:gd name="connsiteY0" fmla="*/ 0 h 10000"/>
                <a:gd name="connsiteX1" fmla="*/ 30 w 10000"/>
                <a:gd name="connsiteY1" fmla="*/ 10000 h 10000"/>
                <a:gd name="connsiteX2" fmla="*/ 248 w 10000"/>
                <a:gd name="connsiteY2" fmla="*/ 10000 h 10000"/>
                <a:gd name="connsiteX3" fmla="*/ 10000 w 10000"/>
                <a:gd name="connsiteY3" fmla="*/ 10000 h 10000"/>
                <a:gd name="connsiteX0" fmla="*/ 6 w 10000"/>
                <a:gd name="connsiteY0" fmla="*/ 0 h 10000"/>
                <a:gd name="connsiteX1" fmla="*/ 30 w 10000"/>
                <a:gd name="connsiteY1" fmla="*/ 10000 h 10000"/>
                <a:gd name="connsiteX2" fmla="*/ 10000 w 10000"/>
                <a:gd name="connsiteY2" fmla="*/ 10000 h 10000"/>
                <a:gd name="connsiteX0" fmla="*/ 0 w 9994"/>
                <a:gd name="connsiteY0" fmla="*/ 0 h 10000"/>
                <a:gd name="connsiteX1" fmla="*/ 9994 w 9994"/>
                <a:gd name="connsiteY1" fmla="*/ 10000 h 10000"/>
                <a:gd name="connsiteX0" fmla="*/ 0 w 150914"/>
                <a:gd name="connsiteY0" fmla="*/ 12107 h 12107"/>
                <a:gd name="connsiteX1" fmla="*/ 150914 w 150914"/>
                <a:gd name="connsiteY1" fmla="*/ 0 h 12107"/>
                <a:gd name="connsiteX0" fmla="*/ 0 w 150914"/>
                <a:gd name="connsiteY0" fmla="*/ 12107 h 12107"/>
                <a:gd name="connsiteX1" fmla="*/ 150914 w 150914"/>
                <a:gd name="connsiteY1" fmla="*/ 0 h 12107"/>
                <a:gd name="connsiteX0" fmla="*/ 0 w 150914"/>
                <a:gd name="connsiteY0" fmla="*/ 12107 h 12107"/>
                <a:gd name="connsiteX1" fmla="*/ 150914 w 150914"/>
                <a:gd name="connsiteY1" fmla="*/ 0 h 12107"/>
                <a:gd name="connsiteX0" fmla="*/ 0 w 150914"/>
                <a:gd name="connsiteY0" fmla="*/ 12107 h 12107"/>
                <a:gd name="connsiteX1" fmla="*/ 150914 w 150914"/>
                <a:gd name="connsiteY1" fmla="*/ 0 h 12107"/>
                <a:gd name="connsiteX0" fmla="*/ 0 w 150914"/>
                <a:gd name="connsiteY0" fmla="*/ 12107 h 12107"/>
                <a:gd name="connsiteX1" fmla="*/ 150914 w 150914"/>
                <a:gd name="connsiteY1" fmla="*/ 0 h 12107"/>
              </a:gdLst>
              <a:ahLst/>
              <a:cxnLst>
                <a:cxn ang="0">
                  <a:pos x="connsiteX0" y="connsiteY0"/>
                </a:cxn>
                <a:cxn ang="0">
                  <a:pos x="connsiteX1" y="connsiteY1"/>
                </a:cxn>
              </a:cxnLst>
              <a:rect l="l" t="t" r="r" b="b"/>
              <a:pathLst>
                <a:path w="150914" h="12107">
                  <a:moveTo>
                    <a:pt x="0" y="12107"/>
                  </a:moveTo>
                  <a:lnTo>
                    <a:pt x="150914" y="0"/>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3" name="Group 14">
            <a:extLst>
              <a:ext uri="{FF2B5EF4-FFF2-40B4-BE49-F238E27FC236}">
                <a16:creationId xmlns:a16="http://schemas.microsoft.com/office/drawing/2014/main" id="{5333560F-06E7-4575-B344-CCE24D425D02}"/>
              </a:ext>
            </a:extLst>
          </p:cNvPr>
          <p:cNvGrpSpPr>
            <a:grpSpLocks noChangeAspect="1"/>
          </p:cNvGrpSpPr>
          <p:nvPr userDrawn="1"/>
        </p:nvGrpSpPr>
        <p:grpSpPr>
          <a:xfrm>
            <a:off x="503526" y="6525130"/>
            <a:ext cx="942852" cy="210206"/>
            <a:chOff x="728663" y="4465638"/>
            <a:chExt cx="5354637" cy="1193800"/>
          </a:xfrm>
        </p:grpSpPr>
        <p:sp>
          <p:nvSpPr>
            <p:cNvPr id="54" name="Freeform 11">
              <a:extLst>
                <a:ext uri="{FF2B5EF4-FFF2-40B4-BE49-F238E27FC236}">
                  <a16:creationId xmlns:a16="http://schemas.microsoft.com/office/drawing/2014/main" id="{138FE2B3-79DE-418B-87AF-75640E0639B3}"/>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2">
              <a:extLst>
                <a:ext uri="{FF2B5EF4-FFF2-40B4-BE49-F238E27FC236}">
                  <a16:creationId xmlns:a16="http://schemas.microsoft.com/office/drawing/2014/main" id="{33EE80DE-B56B-4AB8-9643-CAF8521D9517}"/>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3">
              <a:extLst>
                <a:ext uri="{FF2B5EF4-FFF2-40B4-BE49-F238E27FC236}">
                  <a16:creationId xmlns:a16="http://schemas.microsoft.com/office/drawing/2014/main" id="{A5DBE617-3642-4394-8C1F-E751F0290ED9}"/>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14">
              <a:extLst>
                <a:ext uri="{FF2B5EF4-FFF2-40B4-BE49-F238E27FC236}">
                  <a16:creationId xmlns:a16="http://schemas.microsoft.com/office/drawing/2014/main" id="{313D44F1-670E-4CE1-8746-14A0D8046F6C}"/>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0" name="Freeform 15">
              <a:extLst>
                <a:ext uri="{FF2B5EF4-FFF2-40B4-BE49-F238E27FC236}">
                  <a16:creationId xmlns:a16="http://schemas.microsoft.com/office/drawing/2014/main" id="{A38FEBFE-2A53-4BE7-8249-887446874C4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937" r:id="rId1"/>
    <p:sldLayoutId id="2147483978" r:id="rId2"/>
    <p:sldLayoutId id="2147483964" r:id="rId3"/>
  </p:sldLayoutIdLst>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31775" indent="-231775" algn="l" defTabSz="914342" rtl="0" eaLnBrk="1" latinLnBrk="0" hangingPunct="1">
        <a:spcBef>
          <a:spcPts val="0"/>
        </a:spcBef>
        <a:spcAft>
          <a:spcPts val="400"/>
        </a:spcAft>
        <a:buClr>
          <a:schemeClr val="accent1"/>
        </a:buClr>
        <a:buFont typeface="Wingdings" pitchFamily="2" charset="2"/>
        <a:buChar char="§"/>
        <a:defRPr sz="2000" b="0" kern="1200">
          <a:solidFill>
            <a:schemeClr val="tx2"/>
          </a:solidFill>
          <a:latin typeface="+mn-lt"/>
          <a:ea typeface="+mn-ea"/>
          <a:cs typeface="+mn-cs"/>
        </a:defRPr>
      </a:lvl1pPr>
      <a:lvl2pPr marL="461963" indent="-230188" algn="l" defTabSz="914342" rtl="0" eaLnBrk="1" latinLnBrk="0" hangingPunct="1">
        <a:spcBef>
          <a:spcPts val="0"/>
        </a:spcBef>
        <a:spcAft>
          <a:spcPts val="400"/>
        </a:spcAft>
        <a:buClr>
          <a:schemeClr val="accent1"/>
        </a:buClr>
        <a:buFont typeface="Wingdings" pitchFamily="2" charset="2"/>
        <a:buChar char="§"/>
        <a:defRPr sz="1800" kern="1200">
          <a:solidFill>
            <a:schemeClr val="tx2"/>
          </a:solidFill>
          <a:latin typeface="+mn-lt"/>
          <a:ea typeface="+mn-ea"/>
          <a:cs typeface="+mn-cs"/>
        </a:defRPr>
      </a:lvl2pPr>
      <a:lvl3pPr marL="682625" indent="-220663" algn="l" defTabSz="914342" rtl="0" eaLnBrk="1" latinLnBrk="0" hangingPunct="1">
        <a:spcBef>
          <a:spcPts val="0"/>
        </a:spcBef>
        <a:spcAft>
          <a:spcPts val="400"/>
        </a:spcAft>
        <a:buClr>
          <a:schemeClr val="accent1"/>
        </a:buClr>
        <a:buFont typeface="Arial" pitchFamily="34" charset="0"/>
        <a:buChar char="•"/>
        <a:defRPr sz="1600" kern="1200">
          <a:solidFill>
            <a:schemeClr val="tx2"/>
          </a:solidFill>
          <a:latin typeface="+mn-lt"/>
          <a:ea typeface="+mn-ea"/>
          <a:cs typeface="+mn-cs"/>
        </a:defRPr>
      </a:lvl3pPr>
      <a:lvl4pPr marL="914400" indent="-231775" algn="l" defTabSz="914342" rtl="0" eaLnBrk="1" latinLnBrk="0" hangingPunct="1">
        <a:spcBef>
          <a:spcPts val="0"/>
        </a:spcBef>
        <a:spcAft>
          <a:spcPts val="400"/>
        </a:spcAft>
        <a:buClr>
          <a:schemeClr val="accent1"/>
        </a:buClr>
        <a:buFont typeface="Arial" pitchFamily="34" charset="0"/>
        <a:buChar char="–"/>
        <a:defRPr sz="1400" kern="1200">
          <a:solidFill>
            <a:schemeClr val="tx2"/>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1" name="Rectangle 20"/>
          <p:cNvSpPr/>
          <p:nvPr/>
        </p:nvSpPr>
        <p:spPr>
          <a:xfrm>
            <a:off x="0" y="1196752"/>
            <a:ext cx="9906000" cy="5661248"/>
          </a:xfrm>
          <a:prstGeom prst="rect">
            <a:avLst/>
          </a:prstGeom>
          <a:gradFill flip="none" rotWithShape="1">
            <a:gsLst>
              <a:gs pos="0">
                <a:srgbClr val="6A9529"/>
              </a:gs>
              <a:gs pos="100000">
                <a:srgbClr val="46631B"/>
              </a:gs>
            </a:gsLst>
            <a:lin ang="18900000" scaled="1"/>
            <a:tileRect/>
          </a:gradFill>
          <a:ln w="12700" cmpd="sng" algn="ctr">
            <a:noFill/>
            <a:miter lim="800000"/>
            <a:headEnd/>
            <a:tailEnd/>
          </a:ln>
          <a:effectLst>
            <a:innerShdw blurRad="63500" dist="50800" dir="16200000">
              <a:prstClr val="black">
                <a:alpha val="50000"/>
              </a:prstClr>
            </a:inn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12" name="Object 1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06" name="think-cell Slide" r:id="rId16" imgW="360" imgH="360" progId="">
                  <p:embed/>
                </p:oleObj>
              </mc:Choice>
              <mc:Fallback>
                <p:oleObj name="think-cell Slide" r:id="rId16" imgW="360" imgH="360" progId="">
                  <p:embed/>
                  <p:pic>
                    <p:nvPicPr>
                      <p:cNvPr id="0" name="Picture 9"/>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Rectangle 21"/>
          <p:cNvSpPr/>
          <p:nvPr>
            <p:custDataLst>
              <p:tags r:id="rId6"/>
            </p:custDataLst>
          </p:nvPr>
        </p:nvSpPr>
        <p:spPr>
          <a:xfrm>
            <a:off x="6041618" y="5488713"/>
            <a:ext cx="3545985" cy="349702"/>
          </a:xfrm>
          <a:prstGeom prst="rect">
            <a:avLst/>
          </a:prstGeom>
        </p:spPr>
        <p:txBody>
          <a:bodyPr wrap="none" lIns="36000" tIns="36000" rIns="360000" bIns="36000" anchor="b" anchorCtr="0">
            <a:spAutoFit/>
          </a:bodyPr>
          <a:lstStyle/>
          <a:p>
            <a:pPr algn="r"/>
            <a:r>
              <a:rPr lang="en-US" sz="1800" b="1" dirty="0">
                <a:solidFill>
                  <a:schemeClr val="bg1"/>
                </a:solidFill>
                <a:latin typeface="Arial" pitchFamily="34" charset="0"/>
                <a:cs typeface="Arial" pitchFamily="34" charset="0"/>
              </a:rPr>
              <a:t>www.capgemini.com/utilities</a:t>
            </a:r>
          </a:p>
        </p:txBody>
      </p:sp>
      <p:sp>
        <p:nvSpPr>
          <p:cNvPr id="13" name="Rectangle 12"/>
          <p:cNvSpPr/>
          <p:nvPr>
            <p:custDataLst>
              <p:tags r:id="rId7"/>
            </p:custDataLst>
          </p:nvPr>
        </p:nvSpPr>
        <p:spPr>
          <a:xfrm>
            <a:off x="5205520" y="6271946"/>
            <a:ext cx="4382083"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proprietary.</a:t>
            </a:r>
            <a:br>
              <a:rPr lang="en-US" sz="700" dirty="0">
                <a:solidFill>
                  <a:schemeClr val="bg1"/>
                </a:solidFill>
                <a:latin typeface="Arial"/>
                <a:cs typeface="Arial"/>
              </a:rPr>
            </a:br>
            <a:r>
              <a:rPr lang="en-US" sz="700" dirty="0">
                <a:solidFill>
                  <a:schemeClr val="bg1"/>
                </a:solidFill>
                <a:latin typeface="Arial"/>
                <a:cs typeface="Arial"/>
              </a:rPr>
              <a:t>Copyright © 2019 Capgemini. All rights 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a:solidFill>
                  <a:schemeClr val="bg1"/>
                </a:solidFill>
                <a:latin typeface="Arial"/>
                <a:cs typeface="Arial"/>
              </a:rPr>
              <a:t>Rightshore</a:t>
            </a:r>
            <a:r>
              <a:rPr lang="en-US" sz="700" baseline="30000" dirty="0">
                <a:solidFill>
                  <a:schemeClr val="bg1"/>
                </a:solidFill>
                <a:latin typeface="Arial"/>
                <a:cs typeface="Arial"/>
              </a:rPr>
              <a:t>®</a:t>
            </a:r>
            <a:r>
              <a:rPr lang="en-US" sz="700" dirty="0">
                <a:solidFill>
                  <a:schemeClr val="bg1"/>
                </a:solidFill>
                <a:latin typeface="Arial"/>
                <a:cs typeface="Arial"/>
              </a:rPr>
              <a:t> is a trademark belonging to Capgemini.</a:t>
            </a:r>
          </a:p>
        </p:txBody>
      </p:sp>
      <p:pic>
        <p:nvPicPr>
          <p:cNvPr id="16" name="Picture 3" descr="C:\Users\UserSim\Desktop\DS_icons\128x128 shadows\facebook.png">
            <a:hlinkClick r:id="rId18"/>
          </p:cNvPr>
          <p:cNvPicPr>
            <a:picLocks noChangeAspect="1" noChangeArrowheads="1"/>
          </p:cNvPicPr>
          <p:nvPr>
            <p:custDataLst>
              <p:tags r:id="rId8"/>
            </p:custDataLst>
          </p:nvPr>
        </p:nvPicPr>
        <p:blipFill>
          <a:blip r:embed="rId19" cstate="email"/>
          <a:srcRect/>
          <a:stretch>
            <a:fillRect/>
          </a:stretch>
        </p:blipFill>
        <p:spPr bwMode="auto">
          <a:xfrm>
            <a:off x="7620855" y="5932547"/>
            <a:ext cx="278223" cy="263770"/>
          </a:xfrm>
          <a:prstGeom prst="rect">
            <a:avLst/>
          </a:prstGeom>
          <a:noFill/>
        </p:spPr>
      </p:pic>
      <p:pic>
        <p:nvPicPr>
          <p:cNvPr id="18" name="Picture 4" descr="C:\Users\UserSim\Desktop\DS_icons\128x128 shadows\linkedin.png">
            <a:hlinkClick r:id="rId20"/>
          </p:cNvPr>
          <p:cNvPicPr>
            <a:picLocks noChangeAspect="1" noChangeArrowheads="1"/>
          </p:cNvPicPr>
          <p:nvPr>
            <p:custDataLst>
              <p:tags r:id="rId9"/>
            </p:custDataLst>
          </p:nvPr>
        </p:nvPicPr>
        <p:blipFill>
          <a:blip r:embed="rId21" cstate="email"/>
          <a:srcRect/>
          <a:stretch>
            <a:fillRect/>
          </a:stretch>
        </p:blipFill>
        <p:spPr bwMode="auto">
          <a:xfrm>
            <a:off x="7956268" y="5932547"/>
            <a:ext cx="281313" cy="266700"/>
          </a:xfrm>
          <a:prstGeom prst="rect">
            <a:avLst/>
          </a:prstGeom>
          <a:noFill/>
        </p:spPr>
      </p:pic>
      <p:pic>
        <p:nvPicPr>
          <p:cNvPr id="19" name="Picture 5" descr="C:\Users\UserSim\Desktop\DS_icons\128x128 shadows\twitter.png">
            <a:hlinkClick r:id="rId22"/>
          </p:cNvPr>
          <p:cNvPicPr>
            <a:picLocks noChangeAspect="1" noChangeArrowheads="1"/>
          </p:cNvPicPr>
          <p:nvPr>
            <p:custDataLst>
              <p:tags r:id="rId10"/>
            </p:custDataLst>
          </p:nvPr>
        </p:nvPicPr>
        <p:blipFill>
          <a:blip r:embed="rId23" cstate="email"/>
          <a:srcRect/>
          <a:stretch>
            <a:fillRect/>
          </a:stretch>
        </p:blipFill>
        <p:spPr bwMode="auto">
          <a:xfrm>
            <a:off x="8585323" y="5932547"/>
            <a:ext cx="281313" cy="266700"/>
          </a:xfrm>
          <a:prstGeom prst="rect">
            <a:avLst/>
          </a:prstGeom>
          <a:noFill/>
        </p:spPr>
      </p:pic>
      <p:pic>
        <p:nvPicPr>
          <p:cNvPr id="20" name="Picture 6" descr="C:\Users\UserSim\Desktop\DS_icons\128x128 shadows\youtube.png">
            <a:hlinkClick r:id="rId24"/>
          </p:cNvPr>
          <p:cNvPicPr>
            <a:picLocks noChangeAspect="1" noChangeArrowheads="1"/>
          </p:cNvPicPr>
          <p:nvPr>
            <p:custDataLst>
              <p:tags r:id="rId11"/>
            </p:custDataLst>
          </p:nvPr>
        </p:nvPicPr>
        <p:blipFill>
          <a:blip r:embed="rId25" cstate="email"/>
          <a:srcRect/>
          <a:stretch>
            <a:fillRect/>
          </a:stretch>
        </p:blipFill>
        <p:spPr bwMode="auto">
          <a:xfrm>
            <a:off x="8923826" y="5932547"/>
            <a:ext cx="281313" cy="266700"/>
          </a:xfrm>
          <a:prstGeom prst="rect">
            <a:avLst/>
          </a:prstGeom>
          <a:noFill/>
        </p:spPr>
      </p:pic>
      <p:pic>
        <p:nvPicPr>
          <p:cNvPr id="28" name="Image 22" descr="Picto_Slideshare.gif">
            <a:hlinkClick r:id="rId26"/>
          </p:cNvPr>
          <p:cNvPicPr preferRelativeResize="0">
            <a:picLocks/>
          </p:cNvPicPr>
          <p:nvPr>
            <p:custDataLst>
              <p:tags r:id="rId12"/>
            </p:custDataLst>
          </p:nvPr>
        </p:nvPicPr>
        <p:blipFill>
          <a:blip r:embed="rId27" cstate="email"/>
          <a:srcRect l="4793" t="6316" r="5718" b="7969"/>
          <a:stretch>
            <a:fillRect/>
          </a:stretch>
        </p:blipFill>
        <p:spPr>
          <a:xfrm>
            <a:off x="8294771" y="5932547"/>
            <a:ext cx="233362" cy="238125"/>
          </a:xfrm>
          <a:prstGeom prst="roundRect">
            <a:avLst/>
          </a:prstGeom>
          <a:effectLst>
            <a:outerShdw blurRad="38100" dist="25400" dir="5400000" sx="98000" sy="98000" algn="t" rotWithShape="0">
              <a:schemeClr val="tx2">
                <a:alpha val="51000"/>
              </a:schemeClr>
            </a:outerShdw>
          </a:effectLst>
        </p:spPr>
      </p:pic>
      <p:pic>
        <p:nvPicPr>
          <p:cNvPr id="30" name="Picture 104" descr="C:\Users\UserSim\Desktop\Capgemini\moto.emf"/>
          <p:cNvPicPr>
            <a:picLocks noChangeAspect="1" noChangeArrowheads="1"/>
          </p:cNvPicPr>
          <p:nvPr>
            <p:custDataLst>
              <p:tags r:id="rId13"/>
            </p:custDataLst>
          </p:nvPr>
        </p:nvPicPr>
        <p:blipFill>
          <a:blip r:embed="rId28" cstate="email"/>
          <a:srcRect/>
          <a:stretch>
            <a:fillRect/>
          </a:stretch>
        </p:blipFill>
        <p:spPr bwMode="auto">
          <a:xfrm>
            <a:off x="6082983" y="1051695"/>
            <a:ext cx="3154680" cy="251225"/>
          </a:xfrm>
          <a:prstGeom prst="rect">
            <a:avLst/>
          </a:prstGeom>
          <a:noFill/>
        </p:spPr>
      </p:pic>
      <p:sp>
        <p:nvSpPr>
          <p:cNvPr id="15" name="Rectangle 7"/>
          <p:cNvSpPr/>
          <p:nvPr>
            <p:custDataLst>
              <p:tags r:id="rId14"/>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359261 w 10562585"/>
              <a:gd name="connsiteY0" fmla="*/ 366769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359261 w 10562585"/>
              <a:gd name="connsiteY7" fmla="*/ 366769 h 2958168"/>
              <a:gd name="connsiteX0" fmla="*/ 2187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0 h 2958168"/>
              <a:gd name="connsiteX0" fmla="*/ 2187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7"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lnTo>
                  <a:pt x="2187" y="0"/>
                </a:lnTo>
                <a:close/>
              </a:path>
            </a:pathLst>
          </a:custGeom>
          <a:solidFill>
            <a:schemeClr val="bg1"/>
          </a:solidFill>
          <a:ln w="12700" cmpd="sng" algn="ctr">
            <a:noFill/>
            <a:miter lim="800000"/>
            <a:headEnd/>
            <a:tailEnd/>
          </a:ln>
          <a:effectLst>
            <a:outerShdw blurRad="50800" dist="25400" dir="5400000" algn="t" rotWithShape="0">
              <a:srgbClr val="000000">
                <a:alpha val="40000"/>
              </a:srgb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pic>
        <p:nvPicPr>
          <p:cNvPr id="23" name="Picture 104" descr="C:\Users\UserSim\Desktop\Capgemini\moto.emf"/>
          <p:cNvPicPr>
            <a:picLocks noChangeAspect="1" noChangeArrowheads="1"/>
          </p:cNvPicPr>
          <p:nvPr>
            <p:custDataLst>
              <p:tags r:id="rId15"/>
            </p:custDataLst>
          </p:nvPr>
        </p:nvPicPr>
        <p:blipFill>
          <a:blip r:embed="rId28" cstate="email"/>
          <a:srcRect/>
          <a:stretch>
            <a:fillRect/>
          </a:stretch>
        </p:blipFill>
        <p:spPr bwMode="auto">
          <a:xfrm>
            <a:off x="6677343" y="854960"/>
            <a:ext cx="2560320" cy="203893"/>
          </a:xfrm>
          <a:prstGeom prst="rect">
            <a:avLst/>
          </a:prstGeom>
          <a:noFill/>
        </p:spPr>
      </p:pic>
      <p:grpSp>
        <p:nvGrpSpPr>
          <p:cNvPr id="24" name="Group 14">
            <a:extLst>
              <a:ext uri="{FF2B5EF4-FFF2-40B4-BE49-F238E27FC236}">
                <a16:creationId xmlns:a16="http://schemas.microsoft.com/office/drawing/2014/main" id="{8E103BF6-7587-4494-A90B-2FD27FE76A72}"/>
              </a:ext>
            </a:extLst>
          </p:cNvPr>
          <p:cNvGrpSpPr>
            <a:grpSpLocks noChangeAspect="1"/>
          </p:cNvGrpSpPr>
          <p:nvPr userDrawn="1"/>
        </p:nvGrpSpPr>
        <p:grpSpPr>
          <a:xfrm>
            <a:off x="381000" y="744639"/>
            <a:ext cx="2247395" cy="501050"/>
            <a:chOff x="728663" y="4465638"/>
            <a:chExt cx="5354637" cy="1193800"/>
          </a:xfrm>
        </p:grpSpPr>
        <p:sp>
          <p:nvSpPr>
            <p:cNvPr id="25" name="Freeform 11">
              <a:extLst>
                <a:ext uri="{FF2B5EF4-FFF2-40B4-BE49-F238E27FC236}">
                  <a16:creationId xmlns:a16="http://schemas.microsoft.com/office/drawing/2014/main" id="{418B01D4-A876-40BB-909A-C3F123CAA581}"/>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2">
              <a:extLst>
                <a:ext uri="{FF2B5EF4-FFF2-40B4-BE49-F238E27FC236}">
                  <a16:creationId xmlns:a16="http://schemas.microsoft.com/office/drawing/2014/main" id="{C6FC837E-4FBE-4993-8899-12925A655590}"/>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3">
              <a:extLst>
                <a:ext uri="{FF2B5EF4-FFF2-40B4-BE49-F238E27FC236}">
                  <a16:creationId xmlns:a16="http://schemas.microsoft.com/office/drawing/2014/main" id="{693D4780-654B-4D9D-B36C-B4DE5879DC98}"/>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4">
              <a:extLst>
                <a:ext uri="{FF2B5EF4-FFF2-40B4-BE49-F238E27FC236}">
                  <a16:creationId xmlns:a16="http://schemas.microsoft.com/office/drawing/2014/main" id="{A73722F7-52A8-4672-83E6-E856CA824015}"/>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5">
              <a:extLst>
                <a:ext uri="{FF2B5EF4-FFF2-40B4-BE49-F238E27FC236}">
                  <a16:creationId xmlns:a16="http://schemas.microsoft.com/office/drawing/2014/main" id="{F1EF01D2-4E33-4496-B4E4-DFE628BCCF36}"/>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979" r:id="rId1"/>
    <p:sldLayoutId id="2147483980"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3.xml"/><Relationship Id="rId7" Type="http://schemas.openxmlformats.org/officeDocument/2006/relationships/notesSlide" Target="../notesSlides/notesSlide1.xml"/><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Layout" Target="../slideLayouts/slideLayout1.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862" name="think-cell Slide" r:id="rId8" imgW="360" imgH="360" progId="">
                  <p:embed/>
                </p:oleObj>
              </mc:Choice>
              <mc:Fallback>
                <p:oleObj name="think-cell Slide" r:id="rId8" imgW="360" imgH="360" progId="">
                  <p:embed/>
                  <p:pic>
                    <p:nvPicPr>
                      <p:cNvPr id="0"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title"/>
            <p:custDataLst>
              <p:tags r:id="rId3"/>
            </p:custDataLst>
          </p:nvPr>
        </p:nvSpPr>
        <p:spPr>
          <a:xfrm>
            <a:off x="2667000" y="2420888"/>
            <a:ext cx="6570663" cy="1152128"/>
          </a:xfrm>
        </p:spPr>
        <p:txBody>
          <a:bodyPr/>
          <a:lstStyle/>
          <a:p>
            <a:r>
              <a:rPr lang="en-US" sz="2400" dirty="0">
                <a:latin typeface="Verdana" panose="020B0604030504040204" pitchFamily="34" charset="0"/>
                <a:ea typeface="Verdana" panose="020B0604030504040204" pitchFamily="34" charset="0"/>
                <a:cs typeface="Verdana" panose="020B0604030504040204" pitchFamily="34" charset="0"/>
              </a:rPr>
              <a:t>SESP in Smart Meter Network Operations</a:t>
            </a:r>
          </a:p>
        </p:txBody>
      </p:sp>
      <p:sp>
        <p:nvSpPr>
          <p:cNvPr id="13" name="Subtitle 12"/>
          <p:cNvSpPr>
            <a:spLocks noGrp="1"/>
          </p:cNvSpPr>
          <p:nvPr>
            <p:ph type="body" sz="quarter" idx="10"/>
            <p:custDataLst>
              <p:tags r:id="rId4"/>
            </p:custDataLst>
          </p:nvPr>
        </p:nvSpPr>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March 2019</a:t>
            </a:r>
          </a:p>
        </p:txBody>
      </p:sp>
      <p:sp>
        <p:nvSpPr>
          <p:cNvPr id="5" name="Title 9"/>
          <p:cNvSpPr txBox="1">
            <a:spLocks/>
          </p:cNvSpPr>
          <p:nvPr>
            <p:custDataLst>
              <p:tags r:id="rId5"/>
            </p:custDataLst>
          </p:nvPr>
        </p:nvSpPr>
        <p:spPr>
          <a:xfrm>
            <a:off x="2821879" y="5562600"/>
            <a:ext cx="3776676" cy="307777"/>
          </a:xfrm>
          <a:prstGeom prst="rect">
            <a:avLst/>
          </a:prstGeom>
          <a:effectLst>
            <a:outerShdw blurRad="25400" dist="25400" dir="2700000" algn="tl" rotWithShape="0">
              <a:prstClr val="black">
                <a:alpha val="80000"/>
              </a:prstClr>
            </a:outerShdw>
          </a:effectLst>
        </p:spPr>
        <p:txBody>
          <a:bodyPr vert="horz" wrap="none" lIns="0" tIns="0" rIns="0" bIns="0" rtlCol="0" anchor="b" anchorCtr="0">
            <a:spAutoFit/>
          </a:bodyPr>
          <a:lstStyle/>
          <a:p>
            <a:pPr lvl="0" algn="r" defTabSz="995690">
              <a:spcBef>
                <a:spcPct val="0"/>
              </a:spcBef>
            </a:pPr>
            <a:r>
              <a:rPr lang="en-US" sz="2000" b="1" dirty="0">
                <a:solidFill>
                  <a:schemeClr val="bg1"/>
                </a:solidFill>
                <a:latin typeface="Verdana" panose="020B0604030504040204" pitchFamily="34" charset="0"/>
                <a:ea typeface="Verdana" panose="020B0604030504040204" pitchFamily="34" charset="0"/>
                <a:cs typeface="Verdana" panose="020B0604030504040204" pitchFamily="34" charset="0"/>
              </a:rPr>
              <a:t>SMART ENERGY SERVICES</a:t>
            </a: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Group 15"/>
          <p:cNvGrpSpPr/>
          <p:nvPr/>
        </p:nvGrpSpPr>
        <p:grpSpPr>
          <a:xfrm>
            <a:off x="476682" y="1461150"/>
            <a:ext cx="8906881" cy="3110851"/>
            <a:chOff x="447212" y="1802801"/>
            <a:chExt cx="9078348" cy="3170738"/>
          </a:xfrm>
        </p:grpSpPr>
        <p:sp>
          <p:nvSpPr>
            <p:cNvPr id="17" name="Rectangle 16"/>
            <p:cNvSpPr/>
            <p:nvPr/>
          </p:nvSpPr>
          <p:spPr bwMode="auto">
            <a:xfrm>
              <a:off x="8650341" y="2255196"/>
              <a:ext cx="875219" cy="140826"/>
            </a:xfrm>
            <a:prstGeom prst="rect">
              <a:avLst/>
            </a:prstGeom>
            <a:solidFill>
              <a:schemeClr val="bg1">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R="0" indent="0" fontAlgn="base">
                <a:lnSpc>
                  <a:spcPct val="85000"/>
                </a:lnSpc>
                <a:spcBef>
                  <a:spcPct val="0"/>
                </a:spcBef>
                <a:spcAft>
                  <a:spcPct val="0"/>
                </a:spcAft>
                <a:buClrTx/>
                <a:buSzTx/>
                <a:buFontTx/>
                <a:buNone/>
                <a:tabLst/>
              </a:pPr>
              <a:endParaRPr lang="en-US" dirty="0"/>
            </a:p>
          </p:txBody>
        </p:sp>
        <p:sp>
          <p:nvSpPr>
            <p:cNvPr id="18" name="Freeform 12"/>
            <p:cNvSpPr>
              <a:spLocks/>
            </p:cNvSpPr>
            <p:nvPr/>
          </p:nvSpPr>
          <p:spPr bwMode="auto">
            <a:xfrm>
              <a:off x="447213" y="1802801"/>
              <a:ext cx="3922712" cy="420479"/>
            </a:xfrm>
            <a:custGeom>
              <a:avLst/>
              <a:gdLst/>
              <a:ahLst/>
              <a:cxnLst>
                <a:cxn ang="0">
                  <a:pos x="9198" y="174"/>
                </a:cxn>
                <a:cxn ang="0">
                  <a:pos x="9188" y="174"/>
                </a:cxn>
                <a:cxn ang="0">
                  <a:pos x="8957" y="0"/>
                </a:cxn>
                <a:cxn ang="0">
                  <a:pos x="240" y="0"/>
                </a:cxn>
                <a:cxn ang="0">
                  <a:pos x="0" y="241"/>
                </a:cxn>
                <a:cxn ang="0">
                  <a:pos x="0" y="1042"/>
                </a:cxn>
                <a:cxn ang="0">
                  <a:pos x="6767" y="1042"/>
                </a:cxn>
                <a:cxn ang="0">
                  <a:pos x="8957" y="1042"/>
                </a:cxn>
                <a:cxn ang="0">
                  <a:pos x="9719" y="1042"/>
                </a:cxn>
                <a:cxn ang="0">
                  <a:pos x="9198" y="174"/>
                </a:cxn>
              </a:cxnLst>
              <a:rect l="0" t="0" r="r" b="b"/>
              <a:pathLst>
                <a:path w="9719" h="1042">
                  <a:moveTo>
                    <a:pt x="9198" y="174"/>
                  </a:moveTo>
                  <a:cubicBezTo>
                    <a:pt x="9188" y="174"/>
                    <a:pt x="9188" y="174"/>
                    <a:pt x="9188" y="174"/>
                  </a:cubicBezTo>
                  <a:cubicBezTo>
                    <a:pt x="9159" y="74"/>
                    <a:pt x="9066" y="0"/>
                    <a:pt x="8957" y="0"/>
                  </a:cubicBezTo>
                  <a:cubicBezTo>
                    <a:pt x="240" y="0"/>
                    <a:pt x="240" y="0"/>
                    <a:pt x="240" y="0"/>
                  </a:cubicBezTo>
                  <a:cubicBezTo>
                    <a:pt x="108" y="0"/>
                    <a:pt x="0" y="108"/>
                    <a:pt x="0" y="241"/>
                  </a:cubicBezTo>
                  <a:cubicBezTo>
                    <a:pt x="0" y="1042"/>
                    <a:pt x="0" y="1042"/>
                    <a:pt x="0" y="1042"/>
                  </a:cubicBezTo>
                  <a:cubicBezTo>
                    <a:pt x="6767" y="1042"/>
                    <a:pt x="6767" y="1042"/>
                    <a:pt x="6767" y="1042"/>
                  </a:cubicBezTo>
                  <a:cubicBezTo>
                    <a:pt x="8957" y="1042"/>
                    <a:pt x="8957" y="1042"/>
                    <a:pt x="8957" y="1042"/>
                  </a:cubicBezTo>
                  <a:cubicBezTo>
                    <a:pt x="9719" y="1042"/>
                    <a:pt x="9719" y="1042"/>
                    <a:pt x="9719" y="1042"/>
                  </a:cubicBezTo>
                  <a:lnTo>
                    <a:pt x="9198" y="174"/>
                  </a:lnTo>
                  <a:close/>
                </a:path>
              </a:pathLst>
            </a:custGeom>
            <a:solidFill>
              <a:schemeClr val="bg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 name="Rectangle 18"/>
            <p:cNvSpPr/>
            <p:nvPr/>
          </p:nvSpPr>
          <p:spPr bwMode="auto">
            <a:xfrm>
              <a:off x="4114800" y="2179320"/>
              <a:ext cx="4876800" cy="140826"/>
            </a:xfrm>
            <a:prstGeom prst="rect">
              <a:avLst/>
            </a:prstGeom>
            <a:solidFill>
              <a:schemeClr val="bg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R="0" indent="0" fontAlgn="base">
                <a:lnSpc>
                  <a:spcPct val="85000"/>
                </a:lnSpc>
                <a:spcBef>
                  <a:spcPct val="0"/>
                </a:spcBef>
                <a:spcAft>
                  <a:spcPct val="0"/>
                </a:spcAft>
                <a:buClrTx/>
                <a:buSzTx/>
                <a:buFontTx/>
                <a:buNone/>
                <a:tabLst/>
              </a:pPr>
              <a:endParaRPr lang="en-US" dirty="0"/>
            </a:p>
          </p:txBody>
        </p:sp>
        <p:grpSp>
          <p:nvGrpSpPr>
            <p:cNvPr id="20" name="Group 94"/>
            <p:cNvGrpSpPr/>
            <p:nvPr/>
          </p:nvGrpSpPr>
          <p:grpSpPr>
            <a:xfrm>
              <a:off x="447212" y="1897906"/>
              <a:ext cx="9077793" cy="3075633"/>
              <a:chOff x="344488" y="1897906"/>
              <a:chExt cx="9180518" cy="3075633"/>
            </a:xfrm>
          </p:grpSpPr>
          <p:sp>
            <p:nvSpPr>
              <p:cNvPr id="21" name="Freeform 12"/>
              <p:cNvSpPr>
                <a:spLocks/>
              </p:cNvSpPr>
              <p:nvPr/>
            </p:nvSpPr>
            <p:spPr bwMode="auto">
              <a:xfrm>
                <a:off x="344488" y="2300326"/>
                <a:ext cx="9180518" cy="2673213"/>
              </a:xfrm>
              <a:prstGeom prst="round2SameRect">
                <a:avLst>
                  <a:gd name="adj1" fmla="val 0"/>
                  <a:gd name="adj2" fmla="val 3972"/>
                </a:avLst>
              </a:pr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2"/>
              <p:cNvSpPr>
                <a:spLocks/>
              </p:cNvSpPr>
              <p:nvPr/>
            </p:nvSpPr>
            <p:spPr bwMode="auto">
              <a:xfrm>
                <a:off x="344488" y="1897906"/>
                <a:ext cx="3922712" cy="420479"/>
              </a:xfrm>
              <a:custGeom>
                <a:avLst/>
                <a:gdLst/>
                <a:ahLst/>
                <a:cxnLst>
                  <a:cxn ang="0">
                    <a:pos x="9198" y="174"/>
                  </a:cxn>
                  <a:cxn ang="0">
                    <a:pos x="9188" y="174"/>
                  </a:cxn>
                  <a:cxn ang="0">
                    <a:pos x="8957" y="0"/>
                  </a:cxn>
                  <a:cxn ang="0">
                    <a:pos x="240" y="0"/>
                  </a:cxn>
                  <a:cxn ang="0">
                    <a:pos x="0" y="241"/>
                  </a:cxn>
                  <a:cxn ang="0">
                    <a:pos x="0" y="1042"/>
                  </a:cxn>
                  <a:cxn ang="0">
                    <a:pos x="6767" y="1042"/>
                  </a:cxn>
                  <a:cxn ang="0">
                    <a:pos x="8957" y="1042"/>
                  </a:cxn>
                  <a:cxn ang="0">
                    <a:pos x="9719" y="1042"/>
                  </a:cxn>
                  <a:cxn ang="0">
                    <a:pos x="9198" y="174"/>
                  </a:cxn>
                </a:cxnLst>
                <a:rect l="0" t="0" r="r" b="b"/>
                <a:pathLst>
                  <a:path w="9719" h="1042">
                    <a:moveTo>
                      <a:pt x="9198" y="174"/>
                    </a:moveTo>
                    <a:cubicBezTo>
                      <a:pt x="9188" y="174"/>
                      <a:pt x="9188" y="174"/>
                      <a:pt x="9188" y="174"/>
                    </a:cubicBezTo>
                    <a:cubicBezTo>
                      <a:pt x="9159" y="74"/>
                      <a:pt x="9066" y="0"/>
                      <a:pt x="8957" y="0"/>
                    </a:cubicBezTo>
                    <a:cubicBezTo>
                      <a:pt x="240" y="0"/>
                      <a:pt x="240" y="0"/>
                      <a:pt x="240" y="0"/>
                    </a:cubicBezTo>
                    <a:cubicBezTo>
                      <a:pt x="108" y="0"/>
                      <a:pt x="0" y="108"/>
                      <a:pt x="0" y="241"/>
                    </a:cubicBezTo>
                    <a:cubicBezTo>
                      <a:pt x="0" y="1042"/>
                      <a:pt x="0" y="1042"/>
                      <a:pt x="0" y="1042"/>
                    </a:cubicBezTo>
                    <a:cubicBezTo>
                      <a:pt x="6767" y="1042"/>
                      <a:pt x="6767" y="1042"/>
                      <a:pt x="6767" y="1042"/>
                    </a:cubicBezTo>
                    <a:cubicBezTo>
                      <a:pt x="8957" y="1042"/>
                      <a:pt x="8957" y="1042"/>
                      <a:pt x="8957" y="1042"/>
                    </a:cubicBezTo>
                    <a:cubicBezTo>
                      <a:pt x="9719" y="1042"/>
                      <a:pt x="9719" y="1042"/>
                      <a:pt x="9719" y="1042"/>
                    </a:cubicBezTo>
                    <a:lnTo>
                      <a:pt x="9198" y="174"/>
                    </a:lnTo>
                    <a:close/>
                  </a:path>
                </a:pathLst>
              </a:cu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23" name="Freeform 7"/>
          <p:cNvSpPr>
            <a:spLocks/>
          </p:cNvSpPr>
          <p:nvPr/>
        </p:nvSpPr>
        <p:spPr bwMode="auto">
          <a:xfrm>
            <a:off x="395495" y="1366775"/>
            <a:ext cx="9068710" cy="4044674"/>
          </a:xfrm>
          <a:custGeom>
            <a:avLst/>
            <a:gdLst>
              <a:gd name="connsiteX0" fmla="*/ 992 w 10000"/>
              <a:gd name="connsiteY0" fmla="*/ 10939 h 10939"/>
              <a:gd name="connsiteX1" fmla="*/ 316 w 10000"/>
              <a:gd name="connsiteY1" fmla="*/ 8168 h 10939"/>
              <a:gd name="connsiteX2" fmla="*/ 0 w 10000"/>
              <a:gd name="connsiteY2" fmla="*/ 7460 h 10939"/>
              <a:gd name="connsiteX3" fmla="*/ 0 w 10000"/>
              <a:gd name="connsiteY3" fmla="*/ 467 h 10939"/>
              <a:gd name="connsiteX4" fmla="*/ 208 w 10000"/>
              <a:gd name="connsiteY4" fmla="*/ 0 h 10939"/>
              <a:gd name="connsiteX5" fmla="*/ 4006 w 10000"/>
              <a:gd name="connsiteY5" fmla="*/ 0 h 10939"/>
              <a:gd name="connsiteX6" fmla="*/ 4165 w 10000"/>
              <a:gd name="connsiteY6" fmla="*/ 167 h 10939"/>
              <a:gd name="connsiteX7" fmla="*/ 4168 w 10000"/>
              <a:gd name="connsiteY7" fmla="*/ 167 h 10939"/>
              <a:gd name="connsiteX8" fmla="*/ 4371 w 10000"/>
              <a:gd name="connsiteY8" fmla="*/ 922 h 10939"/>
              <a:gd name="connsiteX9" fmla="*/ 9424 w 10000"/>
              <a:gd name="connsiteY9" fmla="*/ 922 h 10939"/>
              <a:gd name="connsiteX10" fmla="*/ 9424 w 10000"/>
              <a:gd name="connsiteY10" fmla="*/ 1221 h 10939"/>
              <a:gd name="connsiteX11" fmla="*/ 10000 w 10000"/>
              <a:gd name="connsiteY11" fmla="*/ 1221 h 10939"/>
              <a:gd name="connsiteX12" fmla="*/ 10000 w 10000"/>
              <a:gd name="connsiteY12" fmla="*/ 10000 h 10939"/>
              <a:gd name="connsiteX0" fmla="*/ 992 w 10000"/>
              <a:gd name="connsiteY0" fmla="*/ 10939 h 10939"/>
              <a:gd name="connsiteX1" fmla="*/ 275 w 10000"/>
              <a:gd name="connsiteY1" fmla="*/ 10939 h 10939"/>
              <a:gd name="connsiteX2" fmla="*/ 0 w 10000"/>
              <a:gd name="connsiteY2" fmla="*/ 7460 h 10939"/>
              <a:gd name="connsiteX3" fmla="*/ 0 w 10000"/>
              <a:gd name="connsiteY3" fmla="*/ 467 h 10939"/>
              <a:gd name="connsiteX4" fmla="*/ 208 w 10000"/>
              <a:gd name="connsiteY4" fmla="*/ 0 h 10939"/>
              <a:gd name="connsiteX5" fmla="*/ 4006 w 10000"/>
              <a:gd name="connsiteY5" fmla="*/ 0 h 10939"/>
              <a:gd name="connsiteX6" fmla="*/ 4165 w 10000"/>
              <a:gd name="connsiteY6" fmla="*/ 167 h 10939"/>
              <a:gd name="connsiteX7" fmla="*/ 4168 w 10000"/>
              <a:gd name="connsiteY7" fmla="*/ 167 h 10939"/>
              <a:gd name="connsiteX8" fmla="*/ 4371 w 10000"/>
              <a:gd name="connsiteY8" fmla="*/ 922 h 10939"/>
              <a:gd name="connsiteX9" fmla="*/ 9424 w 10000"/>
              <a:gd name="connsiteY9" fmla="*/ 922 h 10939"/>
              <a:gd name="connsiteX10" fmla="*/ 9424 w 10000"/>
              <a:gd name="connsiteY10" fmla="*/ 1221 h 10939"/>
              <a:gd name="connsiteX11" fmla="*/ 10000 w 10000"/>
              <a:gd name="connsiteY11" fmla="*/ 1221 h 10939"/>
              <a:gd name="connsiteX12" fmla="*/ 10000 w 10000"/>
              <a:gd name="connsiteY12" fmla="*/ 10000 h 10939"/>
              <a:gd name="connsiteX0" fmla="*/ 992 w 10000"/>
              <a:gd name="connsiteY0" fmla="*/ 10939 h 10939"/>
              <a:gd name="connsiteX1" fmla="*/ 275 w 10000"/>
              <a:gd name="connsiteY1" fmla="*/ 10939 h 10939"/>
              <a:gd name="connsiteX2" fmla="*/ 0 w 10000"/>
              <a:gd name="connsiteY2" fmla="*/ 10481 h 10939"/>
              <a:gd name="connsiteX3" fmla="*/ 0 w 10000"/>
              <a:gd name="connsiteY3" fmla="*/ 467 h 10939"/>
              <a:gd name="connsiteX4" fmla="*/ 208 w 10000"/>
              <a:gd name="connsiteY4" fmla="*/ 0 h 10939"/>
              <a:gd name="connsiteX5" fmla="*/ 4006 w 10000"/>
              <a:gd name="connsiteY5" fmla="*/ 0 h 10939"/>
              <a:gd name="connsiteX6" fmla="*/ 4165 w 10000"/>
              <a:gd name="connsiteY6" fmla="*/ 167 h 10939"/>
              <a:gd name="connsiteX7" fmla="*/ 4168 w 10000"/>
              <a:gd name="connsiteY7" fmla="*/ 167 h 10939"/>
              <a:gd name="connsiteX8" fmla="*/ 4371 w 10000"/>
              <a:gd name="connsiteY8" fmla="*/ 922 h 10939"/>
              <a:gd name="connsiteX9" fmla="*/ 9424 w 10000"/>
              <a:gd name="connsiteY9" fmla="*/ 922 h 10939"/>
              <a:gd name="connsiteX10" fmla="*/ 9424 w 10000"/>
              <a:gd name="connsiteY10" fmla="*/ 1221 h 10939"/>
              <a:gd name="connsiteX11" fmla="*/ 10000 w 10000"/>
              <a:gd name="connsiteY11" fmla="*/ 1221 h 10939"/>
              <a:gd name="connsiteX12" fmla="*/ 10000 w 10000"/>
              <a:gd name="connsiteY12" fmla="*/ 10000 h 10939"/>
              <a:gd name="connsiteX0" fmla="*/ 992 w 10000"/>
              <a:gd name="connsiteY0" fmla="*/ 11881 h 11881"/>
              <a:gd name="connsiteX1" fmla="*/ 275 w 10000"/>
              <a:gd name="connsiteY1" fmla="*/ 10939 h 11881"/>
              <a:gd name="connsiteX2" fmla="*/ 0 w 10000"/>
              <a:gd name="connsiteY2" fmla="*/ 10481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9424 w 10000"/>
              <a:gd name="connsiteY10" fmla="*/ 1221 h 11881"/>
              <a:gd name="connsiteX11" fmla="*/ 10000 w 10000"/>
              <a:gd name="connsiteY11" fmla="*/ 1221 h 11881"/>
              <a:gd name="connsiteX12" fmla="*/ 10000 w 10000"/>
              <a:gd name="connsiteY12" fmla="*/ 10000 h 11881"/>
              <a:gd name="connsiteX0" fmla="*/ 992 w 10000"/>
              <a:gd name="connsiteY0" fmla="*/ 11881 h 11881"/>
              <a:gd name="connsiteX1" fmla="*/ 275 w 10000"/>
              <a:gd name="connsiteY1" fmla="*/ 11881 h 11881"/>
              <a:gd name="connsiteX2" fmla="*/ 0 w 10000"/>
              <a:gd name="connsiteY2" fmla="*/ 10481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9424 w 10000"/>
              <a:gd name="connsiteY10" fmla="*/ 1221 h 11881"/>
              <a:gd name="connsiteX11" fmla="*/ 10000 w 10000"/>
              <a:gd name="connsiteY11" fmla="*/ 1221 h 11881"/>
              <a:gd name="connsiteX12" fmla="*/ 10000 w 10000"/>
              <a:gd name="connsiteY12"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9424 w 10000"/>
              <a:gd name="connsiteY10" fmla="*/ 1221 h 11881"/>
              <a:gd name="connsiteX11" fmla="*/ 10000 w 10000"/>
              <a:gd name="connsiteY11" fmla="*/ 1221 h 11881"/>
              <a:gd name="connsiteX12" fmla="*/ 10000 w 10000"/>
              <a:gd name="connsiteY12"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10000 w 10000"/>
              <a:gd name="connsiteY10" fmla="*/ 1221 h 11881"/>
              <a:gd name="connsiteX11" fmla="*/ 10000 w 10000"/>
              <a:gd name="connsiteY11"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221 h 11881"/>
              <a:gd name="connsiteX11" fmla="*/ 10000 w 10000"/>
              <a:gd name="connsiteY11"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0000 h 11881"/>
              <a:gd name="connsiteX0" fmla="*/ 992 w 10000"/>
              <a:gd name="connsiteY0" fmla="*/ 11881 h 11881"/>
              <a:gd name="connsiteX1" fmla="*/ 275 w 10000"/>
              <a:gd name="connsiteY1" fmla="*/ 11881 h 11881"/>
              <a:gd name="connsiteX2" fmla="*/ 0 w 10000"/>
              <a:gd name="connsiteY2" fmla="*/ 6983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0000 h 11881"/>
              <a:gd name="connsiteX0" fmla="*/ 992 w 10000"/>
              <a:gd name="connsiteY0" fmla="*/ 11881 h 11881"/>
              <a:gd name="connsiteX1" fmla="*/ 275 w 10000"/>
              <a:gd name="connsiteY1" fmla="*/ 8301 h 11881"/>
              <a:gd name="connsiteX2" fmla="*/ 0 w 10000"/>
              <a:gd name="connsiteY2" fmla="*/ 6983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0000 h 11881"/>
              <a:gd name="connsiteX0" fmla="*/ 992 w 10000"/>
              <a:gd name="connsiteY0" fmla="*/ 11881 h 11881"/>
              <a:gd name="connsiteX1" fmla="*/ 824 w 10000"/>
              <a:gd name="connsiteY1" fmla="*/ 8301 h 11881"/>
              <a:gd name="connsiteX2" fmla="*/ 275 w 10000"/>
              <a:gd name="connsiteY2" fmla="*/ 8301 h 11881"/>
              <a:gd name="connsiteX3" fmla="*/ 0 w 10000"/>
              <a:gd name="connsiteY3" fmla="*/ 6983 h 11881"/>
              <a:gd name="connsiteX4" fmla="*/ 0 w 10000"/>
              <a:gd name="connsiteY4" fmla="*/ 467 h 11881"/>
              <a:gd name="connsiteX5" fmla="*/ 208 w 10000"/>
              <a:gd name="connsiteY5" fmla="*/ 0 h 11881"/>
              <a:gd name="connsiteX6" fmla="*/ 4006 w 10000"/>
              <a:gd name="connsiteY6" fmla="*/ 0 h 11881"/>
              <a:gd name="connsiteX7" fmla="*/ 4165 w 10000"/>
              <a:gd name="connsiteY7" fmla="*/ 167 h 11881"/>
              <a:gd name="connsiteX8" fmla="*/ 4168 w 10000"/>
              <a:gd name="connsiteY8" fmla="*/ 167 h 11881"/>
              <a:gd name="connsiteX9" fmla="*/ 4371 w 10000"/>
              <a:gd name="connsiteY9" fmla="*/ 922 h 11881"/>
              <a:gd name="connsiteX10" fmla="*/ 10000 w 10000"/>
              <a:gd name="connsiteY10" fmla="*/ 919 h 11881"/>
              <a:gd name="connsiteX11" fmla="*/ 10000 w 10000"/>
              <a:gd name="connsiteY11" fmla="*/ 10000 h 11881"/>
              <a:gd name="connsiteX0" fmla="*/ 992 w 10000"/>
              <a:gd name="connsiteY0" fmla="*/ 11881 h 11881"/>
              <a:gd name="connsiteX1" fmla="*/ 275 w 10000"/>
              <a:gd name="connsiteY1" fmla="*/ 8301 h 11881"/>
              <a:gd name="connsiteX2" fmla="*/ 0 w 10000"/>
              <a:gd name="connsiteY2" fmla="*/ 6983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0000 h 11881"/>
              <a:gd name="connsiteX0" fmla="*/ 1076 w 10000"/>
              <a:gd name="connsiteY0" fmla="*/ 8301 h 10000"/>
              <a:gd name="connsiteX1" fmla="*/ 275 w 10000"/>
              <a:gd name="connsiteY1" fmla="*/ 8301 h 10000"/>
              <a:gd name="connsiteX2" fmla="*/ 0 w 10000"/>
              <a:gd name="connsiteY2" fmla="*/ 6983 h 10000"/>
              <a:gd name="connsiteX3" fmla="*/ 0 w 10000"/>
              <a:gd name="connsiteY3" fmla="*/ 467 h 10000"/>
              <a:gd name="connsiteX4" fmla="*/ 208 w 10000"/>
              <a:gd name="connsiteY4" fmla="*/ 0 h 10000"/>
              <a:gd name="connsiteX5" fmla="*/ 4006 w 10000"/>
              <a:gd name="connsiteY5" fmla="*/ 0 h 10000"/>
              <a:gd name="connsiteX6" fmla="*/ 4165 w 10000"/>
              <a:gd name="connsiteY6" fmla="*/ 167 h 10000"/>
              <a:gd name="connsiteX7" fmla="*/ 4168 w 10000"/>
              <a:gd name="connsiteY7" fmla="*/ 167 h 10000"/>
              <a:gd name="connsiteX8" fmla="*/ 4371 w 10000"/>
              <a:gd name="connsiteY8" fmla="*/ 922 h 10000"/>
              <a:gd name="connsiteX9" fmla="*/ 10000 w 10000"/>
              <a:gd name="connsiteY9" fmla="*/ 919 h 10000"/>
              <a:gd name="connsiteX10" fmla="*/ 10000 w 10000"/>
              <a:gd name="connsiteY10" fmla="*/ 10000 h 10000"/>
              <a:gd name="connsiteX0" fmla="*/ 1076 w 10000"/>
              <a:gd name="connsiteY0" fmla="*/ 8301 h 10000"/>
              <a:gd name="connsiteX1" fmla="*/ 275 w 10000"/>
              <a:gd name="connsiteY1" fmla="*/ 8301 h 10000"/>
              <a:gd name="connsiteX2" fmla="*/ 0 w 10000"/>
              <a:gd name="connsiteY2" fmla="*/ 7484 h 10000"/>
              <a:gd name="connsiteX3" fmla="*/ 0 w 10000"/>
              <a:gd name="connsiteY3" fmla="*/ 467 h 10000"/>
              <a:gd name="connsiteX4" fmla="*/ 208 w 10000"/>
              <a:gd name="connsiteY4" fmla="*/ 0 h 10000"/>
              <a:gd name="connsiteX5" fmla="*/ 4006 w 10000"/>
              <a:gd name="connsiteY5" fmla="*/ 0 h 10000"/>
              <a:gd name="connsiteX6" fmla="*/ 4165 w 10000"/>
              <a:gd name="connsiteY6" fmla="*/ 167 h 10000"/>
              <a:gd name="connsiteX7" fmla="*/ 4168 w 10000"/>
              <a:gd name="connsiteY7" fmla="*/ 167 h 10000"/>
              <a:gd name="connsiteX8" fmla="*/ 4371 w 10000"/>
              <a:gd name="connsiteY8" fmla="*/ 922 h 10000"/>
              <a:gd name="connsiteX9" fmla="*/ 10000 w 10000"/>
              <a:gd name="connsiteY9" fmla="*/ 919 h 10000"/>
              <a:gd name="connsiteX10" fmla="*/ 10000 w 10000"/>
              <a:gd name="connsiteY10" fmla="*/ 10000 h 10000"/>
              <a:gd name="connsiteX0" fmla="*/ 1076 w 10000"/>
              <a:gd name="connsiteY0" fmla="*/ 8301 h 10000"/>
              <a:gd name="connsiteX1" fmla="*/ 275 w 10000"/>
              <a:gd name="connsiteY1" fmla="*/ 8113 h 10000"/>
              <a:gd name="connsiteX2" fmla="*/ 0 w 10000"/>
              <a:gd name="connsiteY2" fmla="*/ 7484 h 10000"/>
              <a:gd name="connsiteX3" fmla="*/ 0 w 10000"/>
              <a:gd name="connsiteY3" fmla="*/ 467 h 10000"/>
              <a:gd name="connsiteX4" fmla="*/ 208 w 10000"/>
              <a:gd name="connsiteY4" fmla="*/ 0 h 10000"/>
              <a:gd name="connsiteX5" fmla="*/ 4006 w 10000"/>
              <a:gd name="connsiteY5" fmla="*/ 0 h 10000"/>
              <a:gd name="connsiteX6" fmla="*/ 4165 w 10000"/>
              <a:gd name="connsiteY6" fmla="*/ 167 h 10000"/>
              <a:gd name="connsiteX7" fmla="*/ 4168 w 10000"/>
              <a:gd name="connsiteY7" fmla="*/ 167 h 10000"/>
              <a:gd name="connsiteX8" fmla="*/ 4371 w 10000"/>
              <a:gd name="connsiteY8" fmla="*/ 922 h 10000"/>
              <a:gd name="connsiteX9" fmla="*/ 10000 w 10000"/>
              <a:gd name="connsiteY9" fmla="*/ 919 h 10000"/>
              <a:gd name="connsiteX10" fmla="*/ 10000 w 10000"/>
              <a:gd name="connsiteY10" fmla="*/ 10000 h 10000"/>
              <a:gd name="connsiteX0" fmla="*/ 1076 w 10000"/>
              <a:gd name="connsiteY0" fmla="*/ 8113 h 10000"/>
              <a:gd name="connsiteX1" fmla="*/ 275 w 10000"/>
              <a:gd name="connsiteY1" fmla="*/ 8113 h 10000"/>
              <a:gd name="connsiteX2" fmla="*/ 0 w 10000"/>
              <a:gd name="connsiteY2" fmla="*/ 7484 h 10000"/>
              <a:gd name="connsiteX3" fmla="*/ 0 w 10000"/>
              <a:gd name="connsiteY3" fmla="*/ 467 h 10000"/>
              <a:gd name="connsiteX4" fmla="*/ 208 w 10000"/>
              <a:gd name="connsiteY4" fmla="*/ 0 h 10000"/>
              <a:gd name="connsiteX5" fmla="*/ 4006 w 10000"/>
              <a:gd name="connsiteY5" fmla="*/ 0 h 10000"/>
              <a:gd name="connsiteX6" fmla="*/ 4165 w 10000"/>
              <a:gd name="connsiteY6" fmla="*/ 167 h 10000"/>
              <a:gd name="connsiteX7" fmla="*/ 4168 w 10000"/>
              <a:gd name="connsiteY7" fmla="*/ 167 h 10000"/>
              <a:gd name="connsiteX8" fmla="*/ 4371 w 10000"/>
              <a:gd name="connsiteY8" fmla="*/ 922 h 10000"/>
              <a:gd name="connsiteX9" fmla="*/ 10000 w 10000"/>
              <a:gd name="connsiteY9" fmla="*/ 919 h 10000"/>
              <a:gd name="connsiteX10" fmla="*/ 10000 w 10000"/>
              <a:gd name="connsiteY10"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1076" y="8113"/>
                </a:moveTo>
                <a:lnTo>
                  <a:pt x="275" y="8113"/>
                </a:lnTo>
                <a:cubicBezTo>
                  <a:pt x="100" y="8113"/>
                  <a:pt x="0" y="7875"/>
                  <a:pt x="0" y="7484"/>
                </a:cubicBezTo>
                <a:lnTo>
                  <a:pt x="0" y="467"/>
                </a:lnTo>
                <a:cubicBezTo>
                  <a:pt x="0" y="207"/>
                  <a:pt x="92" y="0"/>
                  <a:pt x="208" y="0"/>
                </a:cubicBezTo>
                <a:lnTo>
                  <a:pt x="4006" y="0"/>
                </a:lnTo>
                <a:cubicBezTo>
                  <a:pt x="4067" y="0"/>
                  <a:pt x="4126" y="63"/>
                  <a:pt x="4165" y="167"/>
                </a:cubicBezTo>
                <a:lnTo>
                  <a:pt x="4168" y="167"/>
                </a:lnTo>
                <a:cubicBezTo>
                  <a:pt x="4236" y="419"/>
                  <a:pt x="4303" y="670"/>
                  <a:pt x="4371" y="922"/>
                </a:cubicBezTo>
                <a:lnTo>
                  <a:pt x="10000" y="919"/>
                </a:lnTo>
                <a:lnTo>
                  <a:pt x="10000" y="10000"/>
                </a:lnTo>
              </a:path>
            </a:pathLst>
          </a:custGeom>
          <a:noFill/>
          <a:ln w="9525" cap="flat">
            <a:solidFill>
              <a:schemeClr val="bg1">
                <a:lumMod val="65000"/>
              </a:schemeClr>
            </a:solidFill>
            <a:prstDash val="solid"/>
            <a:miter lim="800000"/>
            <a:headEnd type="diamond"/>
            <a:tailEnd type="diamond"/>
          </a:ln>
        </p:spPr>
        <p:txBody>
          <a:bodyPr vert="horz" wrap="square" lIns="91440" tIns="45720" rIns="91440" bIns="45720" numCol="1" anchor="t" anchorCtr="0" compatLnSpc="1">
            <a:prstTxWarp prst="textNoShape">
              <a:avLst/>
            </a:prstTxWarp>
          </a:bodyPr>
          <a:lstStyle/>
          <a:p>
            <a:endParaRPr lang="en-US"/>
          </a:p>
        </p:txBody>
      </p:sp>
      <p:sp>
        <p:nvSpPr>
          <p:cNvPr id="94" name="Freeform 12"/>
          <p:cNvSpPr>
            <a:spLocks/>
          </p:cNvSpPr>
          <p:nvPr/>
        </p:nvSpPr>
        <p:spPr bwMode="auto">
          <a:xfrm>
            <a:off x="645188" y="2049124"/>
            <a:ext cx="8569326" cy="365760"/>
          </a:xfrm>
          <a:prstGeom prst="roundRect">
            <a:avLst/>
          </a:prstGeom>
          <a:solidFill>
            <a:schemeClr val="accent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7936" name="think-cell Slide" r:id="rId5" imgW="360" imgH="360" progId="">
                  <p:embed/>
                </p:oleObj>
              </mc:Choice>
              <mc:Fallback>
                <p:oleObj name="think-cell Slide" r:id="rId5" imgW="360" imgH="360" progId="">
                  <p:embed/>
                  <p:pic>
                    <p:nvPicPr>
                      <p:cNvPr id="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dirty="0"/>
              <a:t>Technology Stack</a:t>
            </a:r>
          </a:p>
        </p:txBody>
      </p:sp>
      <p:graphicFrame>
        <p:nvGraphicFramePr>
          <p:cNvPr id="221" name="Table 220"/>
          <p:cNvGraphicFramePr>
            <a:graphicFrameLocks noGrp="1"/>
          </p:cNvGraphicFramePr>
          <p:nvPr/>
        </p:nvGraphicFramePr>
        <p:xfrm>
          <a:off x="645188" y="2022455"/>
          <a:ext cx="8569324" cy="2371344"/>
        </p:xfrm>
        <a:graphic>
          <a:graphicData uri="http://schemas.openxmlformats.org/drawingml/2006/table">
            <a:tbl>
              <a:tblPr firstRow="1" bandRow="1">
                <a:tableStyleId>{C083E6E3-FA7D-4D7B-A595-EF9225AFEA82}</a:tableStyleId>
              </a:tblPr>
              <a:tblGrid>
                <a:gridCol w="1527013">
                  <a:extLst>
                    <a:ext uri="{9D8B030D-6E8A-4147-A177-3AD203B41FA5}">
                      <a16:colId xmlns:a16="http://schemas.microsoft.com/office/drawing/2014/main" val="20000"/>
                    </a:ext>
                  </a:extLst>
                </a:gridCol>
                <a:gridCol w="1527013">
                  <a:extLst>
                    <a:ext uri="{9D8B030D-6E8A-4147-A177-3AD203B41FA5}">
                      <a16:colId xmlns:a16="http://schemas.microsoft.com/office/drawing/2014/main" val="20001"/>
                    </a:ext>
                  </a:extLst>
                </a:gridCol>
                <a:gridCol w="2757649">
                  <a:extLst>
                    <a:ext uri="{9D8B030D-6E8A-4147-A177-3AD203B41FA5}">
                      <a16:colId xmlns:a16="http://schemas.microsoft.com/office/drawing/2014/main" val="20002"/>
                    </a:ext>
                  </a:extLst>
                </a:gridCol>
                <a:gridCol w="2757649">
                  <a:extLst>
                    <a:ext uri="{9D8B030D-6E8A-4147-A177-3AD203B41FA5}">
                      <a16:colId xmlns:a16="http://schemas.microsoft.com/office/drawing/2014/main" val="20003"/>
                    </a:ext>
                  </a:extLst>
                </a:gridCol>
              </a:tblGrid>
              <a:tr h="0">
                <a:tc>
                  <a:txBody>
                    <a:bodyPr/>
                    <a:lstStyle/>
                    <a:p>
                      <a:pPr algn="l">
                        <a:spcAft>
                          <a:spcPts val="200"/>
                        </a:spcAft>
                      </a:pPr>
                      <a:r>
                        <a:rPr lang="en-US" sz="1400" b="1" dirty="0">
                          <a:solidFill>
                            <a:schemeClr val="accent1">
                              <a:lumMod val="20000"/>
                              <a:lumOff val="80000"/>
                            </a:schemeClr>
                          </a:solidFill>
                          <a:latin typeface="Arial" pitchFamily="34" charset="0"/>
                          <a:cs typeface="Arial" pitchFamily="34" charset="0"/>
                        </a:rPr>
                        <a:t>Components</a:t>
                      </a:r>
                    </a:p>
                  </a:txBody>
                  <a:tcPr marL="45720" marR="45720" marT="91440" marB="91440">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pPr algn="l">
                        <a:spcAft>
                          <a:spcPts val="200"/>
                        </a:spcAft>
                      </a:pPr>
                      <a:r>
                        <a:rPr lang="en-US" sz="1400" b="1" i="0" kern="1200" dirty="0">
                          <a:solidFill>
                            <a:schemeClr val="accent1">
                              <a:lumMod val="20000"/>
                              <a:lumOff val="80000"/>
                            </a:schemeClr>
                          </a:solidFill>
                          <a:latin typeface="Arial" pitchFamily="34" charset="0"/>
                          <a:ea typeface="+mn-ea"/>
                          <a:cs typeface="Arial" pitchFamily="34" charset="0"/>
                        </a:rPr>
                        <a:t>Version 2.4.X</a:t>
                      </a:r>
                    </a:p>
                  </a:txBody>
                  <a:tcPr marL="45720" marR="45720" marT="91440" marB="91440">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200"/>
                        </a:spcAft>
                      </a:pPr>
                      <a:r>
                        <a:rPr lang="en-US" sz="1400" dirty="0">
                          <a:solidFill>
                            <a:schemeClr val="accent1">
                              <a:lumMod val="20000"/>
                              <a:lumOff val="80000"/>
                            </a:schemeClr>
                          </a:solidFill>
                          <a:latin typeface="Arial" pitchFamily="34" charset="0"/>
                          <a:cs typeface="Arial" pitchFamily="34" charset="0"/>
                        </a:rPr>
                        <a:t>Version 4.1</a:t>
                      </a:r>
                    </a:p>
                  </a:txBody>
                  <a:tcPr marL="45720" marR="45720" marT="91440" marB="91440">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200"/>
                        </a:spcAft>
                      </a:pPr>
                      <a:r>
                        <a:rPr lang="en-US" sz="1400" dirty="0">
                          <a:solidFill>
                            <a:schemeClr val="accent1">
                              <a:lumMod val="20000"/>
                              <a:lumOff val="80000"/>
                            </a:schemeClr>
                          </a:solidFill>
                          <a:latin typeface="Arial" pitchFamily="34" charset="0"/>
                          <a:cs typeface="Arial" pitchFamily="34" charset="0"/>
                        </a:rPr>
                        <a:t>Version 4.2</a:t>
                      </a:r>
                    </a:p>
                  </a:txBody>
                  <a:tcPr marL="45720" marR="45720" marT="91440" marB="91440">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Application Server</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Tomcat 6</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Tomcat 6</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Tomcat 6</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JDK</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1.6.0_31</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1.7.0_71</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1.7.0_71</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Database</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Oracle</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SqlServer2012</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SqlServer2012</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Report</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err="1">
                          <a:solidFill>
                            <a:schemeClr val="accent1">
                              <a:lumMod val="20000"/>
                              <a:lumOff val="80000"/>
                            </a:schemeClr>
                          </a:solidFill>
                          <a:latin typeface="Arial" pitchFamily="34" charset="0"/>
                          <a:cs typeface="Arial" pitchFamily="34" charset="0"/>
                        </a:rPr>
                        <a:t>Pentaho</a:t>
                      </a:r>
                      <a:endParaRPr lang="en-US" sz="1200" b="0" i="0" u="none" strike="noStrike" dirty="0">
                        <a:solidFill>
                          <a:schemeClr val="accent1">
                            <a:lumMod val="20000"/>
                            <a:lumOff val="80000"/>
                          </a:schemeClr>
                        </a:solidFill>
                        <a:latin typeface="Arial" pitchFamily="34" charset="0"/>
                        <a:cs typeface="Arial" pitchFamily="34" charset="0"/>
                      </a:endParaRP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Reporting web application (JEE web app)</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SSRS , J2EE</a:t>
                      </a:r>
                      <a:r>
                        <a:rPr lang="en-US" sz="1200" b="0" i="0" u="none" strike="noStrike" baseline="0" dirty="0">
                          <a:solidFill>
                            <a:schemeClr val="accent1">
                              <a:lumMod val="20000"/>
                              <a:lumOff val="80000"/>
                            </a:schemeClr>
                          </a:solidFill>
                          <a:latin typeface="Arial" pitchFamily="34" charset="0"/>
                          <a:cs typeface="Arial" pitchFamily="34" charset="0"/>
                        </a:rPr>
                        <a:t> web app reporting web application</a:t>
                      </a:r>
                      <a:endParaRPr lang="en-US" sz="1200" b="0" i="0" u="none" strike="noStrike" dirty="0">
                        <a:solidFill>
                          <a:schemeClr val="accent1">
                            <a:lumMod val="20000"/>
                            <a:lumOff val="80000"/>
                          </a:schemeClr>
                        </a:solidFill>
                        <a:latin typeface="Arial" pitchFamily="34" charset="0"/>
                        <a:cs typeface="Arial" pitchFamily="34" charset="0"/>
                      </a:endParaRP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0">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JDK for Handheld Device (PDA)</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err="1">
                          <a:solidFill>
                            <a:schemeClr val="accent1">
                              <a:lumMod val="20000"/>
                              <a:lumOff val="80000"/>
                            </a:schemeClr>
                          </a:solidFill>
                          <a:latin typeface="Arial" pitchFamily="34" charset="0"/>
                          <a:cs typeface="Arial" pitchFamily="34" charset="0"/>
                        </a:rPr>
                        <a:t>Jeoda</a:t>
                      </a:r>
                      <a:r>
                        <a:rPr lang="en-US" sz="1200" b="0" i="0" u="none" strike="noStrike" dirty="0">
                          <a:solidFill>
                            <a:schemeClr val="accent1">
                              <a:lumMod val="20000"/>
                              <a:lumOff val="80000"/>
                            </a:schemeClr>
                          </a:solidFill>
                          <a:latin typeface="Arial" pitchFamily="34" charset="0"/>
                          <a:cs typeface="Arial" pitchFamily="34" charset="0"/>
                        </a:rPr>
                        <a:t> JDK</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err="1">
                          <a:solidFill>
                            <a:schemeClr val="accent1">
                              <a:lumMod val="20000"/>
                              <a:lumOff val="80000"/>
                            </a:schemeClr>
                          </a:solidFill>
                          <a:latin typeface="Arial" pitchFamily="34" charset="0"/>
                          <a:cs typeface="Arial" pitchFamily="34" charset="0"/>
                        </a:rPr>
                        <a:t>Cre</a:t>
                      </a:r>
                      <a:r>
                        <a:rPr lang="en-US" sz="1200" b="0" i="0" u="none" strike="noStrike" dirty="0">
                          <a:solidFill>
                            <a:schemeClr val="accent1">
                              <a:lumMod val="20000"/>
                              <a:lumOff val="80000"/>
                            </a:schemeClr>
                          </a:solidFill>
                          <a:latin typeface="Arial" pitchFamily="34" charset="0"/>
                          <a:cs typeface="Arial" pitchFamily="34" charset="0"/>
                        </a:rPr>
                        <a:t>-Me/</a:t>
                      </a:r>
                      <a:r>
                        <a:rPr lang="en-US" sz="1200" b="0" i="0" u="none" strike="noStrike" dirty="0" err="1">
                          <a:solidFill>
                            <a:schemeClr val="accent1">
                              <a:lumMod val="20000"/>
                              <a:lumOff val="80000"/>
                            </a:schemeClr>
                          </a:solidFill>
                          <a:latin typeface="Arial" pitchFamily="34" charset="0"/>
                          <a:cs typeface="Arial" pitchFamily="34" charset="0"/>
                        </a:rPr>
                        <a:t>Jeoda</a:t>
                      </a:r>
                      <a:r>
                        <a:rPr lang="en-US" sz="1200" b="0" i="0" u="none" strike="noStrike" dirty="0">
                          <a:solidFill>
                            <a:schemeClr val="accent1">
                              <a:lumMod val="20000"/>
                              <a:lumOff val="80000"/>
                            </a:schemeClr>
                          </a:solidFill>
                          <a:latin typeface="Arial" pitchFamily="34" charset="0"/>
                          <a:cs typeface="Arial" pitchFamily="34" charset="0"/>
                        </a:rPr>
                        <a:t> JVM</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err="1">
                          <a:solidFill>
                            <a:schemeClr val="accent1">
                              <a:lumMod val="20000"/>
                              <a:lumOff val="80000"/>
                            </a:schemeClr>
                          </a:solidFill>
                          <a:latin typeface="Arial" pitchFamily="34" charset="0"/>
                          <a:cs typeface="Arial" pitchFamily="34" charset="0"/>
                        </a:rPr>
                        <a:t>Jeoda</a:t>
                      </a:r>
                      <a:r>
                        <a:rPr lang="en-US" sz="1200" b="0" i="0" u="none" strike="noStrike" dirty="0">
                          <a:solidFill>
                            <a:schemeClr val="accent1">
                              <a:lumMod val="20000"/>
                              <a:lumOff val="80000"/>
                            </a:schemeClr>
                          </a:solidFill>
                          <a:latin typeface="Arial" pitchFamily="34" charset="0"/>
                          <a:cs typeface="Arial" pitchFamily="34" charset="0"/>
                        </a:rPr>
                        <a:t> JVM</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0">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Android</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 </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Android (API level 15 onward. Ice crème sandwich)</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Arial" pitchFamily="34" charset="0"/>
                          <a:cs typeface="Arial" pitchFamily="34" charset="0"/>
                        </a:rPr>
                        <a:t>Android (API level 15 onward. Ice crème sandwich)</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476682" y="1461150"/>
            <a:ext cx="8906881" cy="3110851"/>
            <a:chOff x="447212" y="1802801"/>
            <a:chExt cx="9078348" cy="3170738"/>
          </a:xfrm>
        </p:grpSpPr>
        <p:sp>
          <p:nvSpPr>
            <p:cNvPr id="17" name="Rectangle 16"/>
            <p:cNvSpPr/>
            <p:nvPr/>
          </p:nvSpPr>
          <p:spPr bwMode="auto">
            <a:xfrm>
              <a:off x="8650341" y="2255196"/>
              <a:ext cx="875219" cy="140826"/>
            </a:xfrm>
            <a:prstGeom prst="rect">
              <a:avLst/>
            </a:prstGeom>
            <a:solidFill>
              <a:schemeClr val="bg1">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R="0" indent="0" fontAlgn="base">
                <a:lnSpc>
                  <a:spcPct val="85000"/>
                </a:lnSpc>
                <a:spcBef>
                  <a:spcPct val="0"/>
                </a:spcBef>
                <a:spcAft>
                  <a:spcPct val="0"/>
                </a:spcAft>
                <a:buClrTx/>
                <a:buSzTx/>
                <a:buFontTx/>
                <a:buNone/>
                <a:tabLst/>
              </a:pPr>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18" name="Freeform 12"/>
            <p:cNvSpPr>
              <a:spLocks/>
            </p:cNvSpPr>
            <p:nvPr/>
          </p:nvSpPr>
          <p:spPr bwMode="auto">
            <a:xfrm>
              <a:off x="447213" y="1802801"/>
              <a:ext cx="3922712" cy="420479"/>
            </a:xfrm>
            <a:custGeom>
              <a:avLst/>
              <a:gdLst/>
              <a:ahLst/>
              <a:cxnLst>
                <a:cxn ang="0">
                  <a:pos x="9198" y="174"/>
                </a:cxn>
                <a:cxn ang="0">
                  <a:pos x="9188" y="174"/>
                </a:cxn>
                <a:cxn ang="0">
                  <a:pos x="8957" y="0"/>
                </a:cxn>
                <a:cxn ang="0">
                  <a:pos x="240" y="0"/>
                </a:cxn>
                <a:cxn ang="0">
                  <a:pos x="0" y="241"/>
                </a:cxn>
                <a:cxn ang="0">
                  <a:pos x="0" y="1042"/>
                </a:cxn>
                <a:cxn ang="0">
                  <a:pos x="6767" y="1042"/>
                </a:cxn>
                <a:cxn ang="0">
                  <a:pos x="8957" y="1042"/>
                </a:cxn>
                <a:cxn ang="0">
                  <a:pos x="9719" y="1042"/>
                </a:cxn>
                <a:cxn ang="0">
                  <a:pos x="9198" y="174"/>
                </a:cxn>
              </a:cxnLst>
              <a:rect l="0" t="0" r="r" b="b"/>
              <a:pathLst>
                <a:path w="9719" h="1042">
                  <a:moveTo>
                    <a:pt x="9198" y="174"/>
                  </a:moveTo>
                  <a:cubicBezTo>
                    <a:pt x="9188" y="174"/>
                    <a:pt x="9188" y="174"/>
                    <a:pt x="9188" y="174"/>
                  </a:cubicBezTo>
                  <a:cubicBezTo>
                    <a:pt x="9159" y="74"/>
                    <a:pt x="9066" y="0"/>
                    <a:pt x="8957" y="0"/>
                  </a:cubicBezTo>
                  <a:cubicBezTo>
                    <a:pt x="240" y="0"/>
                    <a:pt x="240" y="0"/>
                    <a:pt x="240" y="0"/>
                  </a:cubicBezTo>
                  <a:cubicBezTo>
                    <a:pt x="108" y="0"/>
                    <a:pt x="0" y="108"/>
                    <a:pt x="0" y="241"/>
                  </a:cubicBezTo>
                  <a:cubicBezTo>
                    <a:pt x="0" y="1042"/>
                    <a:pt x="0" y="1042"/>
                    <a:pt x="0" y="1042"/>
                  </a:cubicBezTo>
                  <a:cubicBezTo>
                    <a:pt x="6767" y="1042"/>
                    <a:pt x="6767" y="1042"/>
                    <a:pt x="6767" y="1042"/>
                  </a:cubicBezTo>
                  <a:cubicBezTo>
                    <a:pt x="8957" y="1042"/>
                    <a:pt x="8957" y="1042"/>
                    <a:pt x="8957" y="1042"/>
                  </a:cubicBezTo>
                  <a:cubicBezTo>
                    <a:pt x="9719" y="1042"/>
                    <a:pt x="9719" y="1042"/>
                    <a:pt x="9719" y="1042"/>
                  </a:cubicBezTo>
                  <a:lnTo>
                    <a:pt x="9198" y="174"/>
                  </a:lnTo>
                  <a:close/>
                </a:path>
              </a:pathLst>
            </a:custGeom>
            <a:solidFill>
              <a:schemeClr val="bg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p:cNvSpPr/>
            <p:nvPr/>
          </p:nvSpPr>
          <p:spPr bwMode="auto">
            <a:xfrm>
              <a:off x="4114800" y="2179320"/>
              <a:ext cx="4876800" cy="140826"/>
            </a:xfrm>
            <a:prstGeom prst="rect">
              <a:avLst/>
            </a:prstGeom>
            <a:solidFill>
              <a:schemeClr val="bg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R="0" indent="0" fontAlgn="base">
                <a:lnSpc>
                  <a:spcPct val="85000"/>
                </a:lnSpc>
                <a:spcBef>
                  <a:spcPct val="0"/>
                </a:spcBef>
                <a:spcAft>
                  <a:spcPct val="0"/>
                </a:spcAft>
                <a:buClrTx/>
                <a:buSzTx/>
                <a:buFontTx/>
                <a:buNone/>
                <a:tabLst/>
              </a:pPr>
              <a:endParaRPr lang="en-US" dirty="0">
                <a:latin typeface="Verdana" panose="020B0604030504040204" pitchFamily="34" charset="0"/>
                <a:ea typeface="Verdana" panose="020B0604030504040204" pitchFamily="34" charset="0"/>
                <a:cs typeface="Verdana" panose="020B0604030504040204" pitchFamily="34" charset="0"/>
              </a:endParaRPr>
            </a:p>
          </p:txBody>
        </p:sp>
        <p:grpSp>
          <p:nvGrpSpPr>
            <p:cNvPr id="20" name="Group 94"/>
            <p:cNvGrpSpPr/>
            <p:nvPr/>
          </p:nvGrpSpPr>
          <p:grpSpPr>
            <a:xfrm>
              <a:off x="447212" y="1897906"/>
              <a:ext cx="9077793" cy="3075633"/>
              <a:chOff x="344488" y="1897906"/>
              <a:chExt cx="9180518" cy="3075633"/>
            </a:xfrm>
          </p:grpSpPr>
          <p:sp>
            <p:nvSpPr>
              <p:cNvPr id="21" name="Freeform 12"/>
              <p:cNvSpPr>
                <a:spLocks/>
              </p:cNvSpPr>
              <p:nvPr/>
            </p:nvSpPr>
            <p:spPr bwMode="auto">
              <a:xfrm>
                <a:off x="344488" y="2300326"/>
                <a:ext cx="9180518" cy="2673213"/>
              </a:xfrm>
              <a:prstGeom prst="round2SameRect">
                <a:avLst>
                  <a:gd name="adj1" fmla="val 0"/>
                  <a:gd name="adj2" fmla="val 3972"/>
                </a:avLst>
              </a:pr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endParaRPr>
              </a:p>
            </p:txBody>
          </p:sp>
          <p:sp>
            <p:nvSpPr>
              <p:cNvPr id="22" name="Freeform 12"/>
              <p:cNvSpPr>
                <a:spLocks/>
              </p:cNvSpPr>
              <p:nvPr/>
            </p:nvSpPr>
            <p:spPr bwMode="auto">
              <a:xfrm>
                <a:off x="344488" y="1897906"/>
                <a:ext cx="3922712" cy="420479"/>
              </a:xfrm>
              <a:custGeom>
                <a:avLst/>
                <a:gdLst/>
                <a:ahLst/>
                <a:cxnLst>
                  <a:cxn ang="0">
                    <a:pos x="9198" y="174"/>
                  </a:cxn>
                  <a:cxn ang="0">
                    <a:pos x="9188" y="174"/>
                  </a:cxn>
                  <a:cxn ang="0">
                    <a:pos x="8957" y="0"/>
                  </a:cxn>
                  <a:cxn ang="0">
                    <a:pos x="240" y="0"/>
                  </a:cxn>
                  <a:cxn ang="0">
                    <a:pos x="0" y="241"/>
                  </a:cxn>
                  <a:cxn ang="0">
                    <a:pos x="0" y="1042"/>
                  </a:cxn>
                  <a:cxn ang="0">
                    <a:pos x="6767" y="1042"/>
                  </a:cxn>
                  <a:cxn ang="0">
                    <a:pos x="8957" y="1042"/>
                  </a:cxn>
                  <a:cxn ang="0">
                    <a:pos x="9719" y="1042"/>
                  </a:cxn>
                  <a:cxn ang="0">
                    <a:pos x="9198" y="174"/>
                  </a:cxn>
                </a:cxnLst>
                <a:rect l="0" t="0" r="r" b="b"/>
                <a:pathLst>
                  <a:path w="9719" h="1042">
                    <a:moveTo>
                      <a:pt x="9198" y="174"/>
                    </a:moveTo>
                    <a:cubicBezTo>
                      <a:pt x="9188" y="174"/>
                      <a:pt x="9188" y="174"/>
                      <a:pt x="9188" y="174"/>
                    </a:cubicBezTo>
                    <a:cubicBezTo>
                      <a:pt x="9159" y="74"/>
                      <a:pt x="9066" y="0"/>
                      <a:pt x="8957" y="0"/>
                    </a:cubicBezTo>
                    <a:cubicBezTo>
                      <a:pt x="240" y="0"/>
                      <a:pt x="240" y="0"/>
                      <a:pt x="240" y="0"/>
                    </a:cubicBezTo>
                    <a:cubicBezTo>
                      <a:pt x="108" y="0"/>
                      <a:pt x="0" y="108"/>
                      <a:pt x="0" y="241"/>
                    </a:cubicBezTo>
                    <a:cubicBezTo>
                      <a:pt x="0" y="1042"/>
                      <a:pt x="0" y="1042"/>
                      <a:pt x="0" y="1042"/>
                    </a:cubicBezTo>
                    <a:cubicBezTo>
                      <a:pt x="6767" y="1042"/>
                      <a:pt x="6767" y="1042"/>
                      <a:pt x="6767" y="1042"/>
                    </a:cubicBezTo>
                    <a:cubicBezTo>
                      <a:pt x="8957" y="1042"/>
                      <a:pt x="8957" y="1042"/>
                      <a:pt x="8957" y="1042"/>
                    </a:cubicBezTo>
                    <a:cubicBezTo>
                      <a:pt x="9719" y="1042"/>
                      <a:pt x="9719" y="1042"/>
                      <a:pt x="9719" y="1042"/>
                    </a:cubicBezTo>
                    <a:lnTo>
                      <a:pt x="9198" y="174"/>
                    </a:lnTo>
                    <a:close/>
                  </a:path>
                </a:pathLst>
              </a:cu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endParaRPr>
              </a:p>
            </p:txBody>
          </p:sp>
        </p:grpSp>
      </p:grpSp>
      <p:sp>
        <p:nvSpPr>
          <p:cNvPr id="23" name="Freeform 7"/>
          <p:cNvSpPr>
            <a:spLocks/>
          </p:cNvSpPr>
          <p:nvPr/>
        </p:nvSpPr>
        <p:spPr bwMode="auto">
          <a:xfrm>
            <a:off x="395495" y="1366775"/>
            <a:ext cx="9068710" cy="4044674"/>
          </a:xfrm>
          <a:custGeom>
            <a:avLst/>
            <a:gdLst>
              <a:gd name="connsiteX0" fmla="*/ 992 w 10000"/>
              <a:gd name="connsiteY0" fmla="*/ 10939 h 10939"/>
              <a:gd name="connsiteX1" fmla="*/ 316 w 10000"/>
              <a:gd name="connsiteY1" fmla="*/ 8168 h 10939"/>
              <a:gd name="connsiteX2" fmla="*/ 0 w 10000"/>
              <a:gd name="connsiteY2" fmla="*/ 7460 h 10939"/>
              <a:gd name="connsiteX3" fmla="*/ 0 w 10000"/>
              <a:gd name="connsiteY3" fmla="*/ 467 h 10939"/>
              <a:gd name="connsiteX4" fmla="*/ 208 w 10000"/>
              <a:gd name="connsiteY4" fmla="*/ 0 h 10939"/>
              <a:gd name="connsiteX5" fmla="*/ 4006 w 10000"/>
              <a:gd name="connsiteY5" fmla="*/ 0 h 10939"/>
              <a:gd name="connsiteX6" fmla="*/ 4165 w 10000"/>
              <a:gd name="connsiteY6" fmla="*/ 167 h 10939"/>
              <a:gd name="connsiteX7" fmla="*/ 4168 w 10000"/>
              <a:gd name="connsiteY7" fmla="*/ 167 h 10939"/>
              <a:gd name="connsiteX8" fmla="*/ 4371 w 10000"/>
              <a:gd name="connsiteY8" fmla="*/ 922 h 10939"/>
              <a:gd name="connsiteX9" fmla="*/ 9424 w 10000"/>
              <a:gd name="connsiteY9" fmla="*/ 922 h 10939"/>
              <a:gd name="connsiteX10" fmla="*/ 9424 w 10000"/>
              <a:gd name="connsiteY10" fmla="*/ 1221 h 10939"/>
              <a:gd name="connsiteX11" fmla="*/ 10000 w 10000"/>
              <a:gd name="connsiteY11" fmla="*/ 1221 h 10939"/>
              <a:gd name="connsiteX12" fmla="*/ 10000 w 10000"/>
              <a:gd name="connsiteY12" fmla="*/ 10000 h 10939"/>
              <a:gd name="connsiteX0" fmla="*/ 992 w 10000"/>
              <a:gd name="connsiteY0" fmla="*/ 10939 h 10939"/>
              <a:gd name="connsiteX1" fmla="*/ 275 w 10000"/>
              <a:gd name="connsiteY1" fmla="*/ 10939 h 10939"/>
              <a:gd name="connsiteX2" fmla="*/ 0 w 10000"/>
              <a:gd name="connsiteY2" fmla="*/ 7460 h 10939"/>
              <a:gd name="connsiteX3" fmla="*/ 0 w 10000"/>
              <a:gd name="connsiteY3" fmla="*/ 467 h 10939"/>
              <a:gd name="connsiteX4" fmla="*/ 208 w 10000"/>
              <a:gd name="connsiteY4" fmla="*/ 0 h 10939"/>
              <a:gd name="connsiteX5" fmla="*/ 4006 w 10000"/>
              <a:gd name="connsiteY5" fmla="*/ 0 h 10939"/>
              <a:gd name="connsiteX6" fmla="*/ 4165 w 10000"/>
              <a:gd name="connsiteY6" fmla="*/ 167 h 10939"/>
              <a:gd name="connsiteX7" fmla="*/ 4168 w 10000"/>
              <a:gd name="connsiteY7" fmla="*/ 167 h 10939"/>
              <a:gd name="connsiteX8" fmla="*/ 4371 w 10000"/>
              <a:gd name="connsiteY8" fmla="*/ 922 h 10939"/>
              <a:gd name="connsiteX9" fmla="*/ 9424 w 10000"/>
              <a:gd name="connsiteY9" fmla="*/ 922 h 10939"/>
              <a:gd name="connsiteX10" fmla="*/ 9424 w 10000"/>
              <a:gd name="connsiteY10" fmla="*/ 1221 h 10939"/>
              <a:gd name="connsiteX11" fmla="*/ 10000 w 10000"/>
              <a:gd name="connsiteY11" fmla="*/ 1221 h 10939"/>
              <a:gd name="connsiteX12" fmla="*/ 10000 w 10000"/>
              <a:gd name="connsiteY12" fmla="*/ 10000 h 10939"/>
              <a:gd name="connsiteX0" fmla="*/ 992 w 10000"/>
              <a:gd name="connsiteY0" fmla="*/ 10939 h 10939"/>
              <a:gd name="connsiteX1" fmla="*/ 275 w 10000"/>
              <a:gd name="connsiteY1" fmla="*/ 10939 h 10939"/>
              <a:gd name="connsiteX2" fmla="*/ 0 w 10000"/>
              <a:gd name="connsiteY2" fmla="*/ 10481 h 10939"/>
              <a:gd name="connsiteX3" fmla="*/ 0 w 10000"/>
              <a:gd name="connsiteY3" fmla="*/ 467 h 10939"/>
              <a:gd name="connsiteX4" fmla="*/ 208 w 10000"/>
              <a:gd name="connsiteY4" fmla="*/ 0 h 10939"/>
              <a:gd name="connsiteX5" fmla="*/ 4006 w 10000"/>
              <a:gd name="connsiteY5" fmla="*/ 0 h 10939"/>
              <a:gd name="connsiteX6" fmla="*/ 4165 w 10000"/>
              <a:gd name="connsiteY6" fmla="*/ 167 h 10939"/>
              <a:gd name="connsiteX7" fmla="*/ 4168 w 10000"/>
              <a:gd name="connsiteY7" fmla="*/ 167 h 10939"/>
              <a:gd name="connsiteX8" fmla="*/ 4371 w 10000"/>
              <a:gd name="connsiteY8" fmla="*/ 922 h 10939"/>
              <a:gd name="connsiteX9" fmla="*/ 9424 w 10000"/>
              <a:gd name="connsiteY9" fmla="*/ 922 h 10939"/>
              <a:gd name="connsiteX10" fmla="*/ 9424 w 10000"/>
              <a:gd name="connsiteY10" fmla="*/ 1221 h 10939"/>
              <a:gd name="connsiteX11" fmla="*/ 10000 w 10000"/>
              <a:gd name="connsiteY11" fmla="*/ 1221 h 10939"/>
              <a:gd name="connsiteX12" fmla="*/ 10000 w 10000"/>
              <a:gd name="connsiteY12" fmla="*/ 10000 h 10939"/>
              <a:gd name="connsiteX0" fmla="*/ 992 w 10000"/>
              <a:gd name="connsiteY0" fmla="*/ 11881 h 11881"/>
              <a:gd name="connsiteX1" fmla="*/ 275 w 10000"/>
              <a:gd name="connsiteY1" fmla="*/ 10939 h 11881"/>
              <a:gd name="connsiteX2" fmla="*/ 0 w 10000"/>
              <a:gd name="connsiteY2" fmla="*/ 10481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9424 w 10000"/>
              <a:gd name="connsiteY10" fmla="*/ 1221 h 11881"/>
              <a:gd name="connsiteX11" fmla="*/ 10000 w 10000"/>
              <a:gd name="connsiteY11" fmla="*/ 1221 h 11881"/>
              <a:gd name="connsiteX12" fmla="*/ 10000 w 10000"/>
              <a:gd name="connsiteY12" fmla="*/ 10000 h 11881"/>
              <a:gd name="connsiteX0" fmla="*/ 992 w 10000"/>
              <a:gd name="connsiteY0" fmla="*/ 11881 h 11881"/>
              <a:gd name="connsiteX1" fmla="*/ 275 w 10000"/>
              <a:gd name="connsiteY1" fmla="*/ 11881 h 11881"/>
              <a:gd name="connsiteX2" fmla="*/ 0 w 10000"/>
              <a:gd name="connsiteY2" fmla="*/ 10481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9424 w 10000"/>
              <a:gd name="connsiteY10" fmla="*/ 1221 h 11881"/>
              <a:gd name="connsiteX11" fmla="*/ 10000 w 10000"/>
              <a:gd name="connsiteY11" fmla="*/ 1221 h 11881"/>
              <a:gd name="connsiteX12" fmla="*/ 10000 w 10000"/>
              <a:gd name="connsiteY12"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9424 w 10000"/>
              <a:gd name="connsiteY10" fmla="*/ 1221 h 11881"/>
              <a:gd name="connsiteX11" fmla="*/ 10000 w 10000"/>
              <a:gd name="connsiteY11" fmla="*/ 1221 h 11881"/>
              <a:gd name="connsiteX12" fmla="*/ 10000 w 10000"/>
              <a:gd name="connsiteY12"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10000 w 10000"/>
              <a:gd name="connsiteY10" fmla="*/ 1221 h 11881"/>
              <a:gd name="connsiteX11" fmla="*/ 10000 w 10000"/>
              <a:gd name="connsiteY11"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221 h 11881"/>
              <a:gd name="connsiteX11" fmla="*/ 10000 w 10000"/>
              <a:gd name="connsiteY11"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0000 h 11881"/>
              <a:gd name="connsiteX0" fmla="*/ 992 w 10000"/>
              <a:gd name="connsiteY0" fmla="*/ 11881 h 11881"/>
              <a:gd name="connsiteX1" fmla="*/ 275 w 10000"/>
              <a:gd name="connsiteY1" fmla="*/ 11881 h 11881"/>
              <a:gd name="connsiteX2" fmla="*/ 0 w 10000"/>
              <a:gd name="connsiteY2" fmla="*/ 6983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0000 h 11881"/>
              <a:gd name="connsiteX0" fmla="*/ 992 w 10000"/>
              <a:gd name="connsiteY0" fmla="*/ 11881 h 11881"/>
              <a:gd name="connsiteX1" fmla="*/ 275 w 10000"/>
              <a:gd name="connsiteY1" fmla="*/ 8301 h 11881"/>
              <a:gd name="connsiteX2" fmla="*/ 0 w 10000"/>
              <a:gd name="connsiteY2" fmla="*/ 6983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0000 h 11881"/>
              <a:gd name="connsiteX0" fmla="*/ 992 w 10000"/>
              <a:gd name="connsiteY0" fmla="*/ 11881 h 11881"/>
              <a:gd name="connsiteX1" fmla="*/ 824 w 10000"/>
              <a:gd name="connsiteY1" fmla="*/ 8301 h 11881"/>
              <a:gd name="connsiteX2" fmla="*/ 275 w 10000"/>
              <a:gd name="connsiteY2" fmla="*/ 8301 h 11881"/>
              <a:gd name="connsiteX3" fmla="*/ 0 w 10000"/>
              <a:gd name="connsiteY3" fmla="*/ 6983 h 11881"/>
              <a:gd name="connsiteX4" fmla="*/ 0 w 10000"/>
              <a:gd name="connsiteY4" fmla="*/ 467 h 11881"/>
              <a:gd name="connsiteX5" fmla="*/ 208 w 10000"/>
              <a:gd name="connsiteY5" fmla="*/ 0 h 11881"/>
              <a:gd name="connsiteX6" fmla="*/ 4006 w 10000"/>
              <a:gd name="connsiteY6" fmla="*/ 0 h 11881"/>
              <a:gd name="connsiteX7" fmla="*/ 4165 w 10000"/>
              <a:gd name="connsiteY7" fmla="*/ 167 h 11881"/>
              <a:gd name="connsiteX8" fmla="*/ 4168 w 10000"/>
              <a:gd name="connsiteY8" fmla="*/ 167 h 11881"/>
              <a:gd name="connsiteX9" fmla="*/ 4371 w 10000"/>
              <a:gd name="connsiteY9" fmla="*/ 922 h 11881"/>
              <a:gd name="connsiteX10" fmla="*/ 10000 w 10000"/>
              <a:gd name="connsiteY10" fmla="*/ 919 h 11881"/>
              <a:gd name="connsiteX11" fmla="*/ 10000 w 10000"/>
              <a:gd name="connsiteY11" fmla="*/ 10000 h 11881"/>
              <a:gd name="connsiteX0" fmla="*/ 992 w 10000"/>
              <a:gd name="connsiteY0" fmla="*/ 11881 h 11881"/>
              <a:gd name="connsiteX1" fmla="*/ 275 w 10000"/>
              <a:gd name="connsiteY1" fmla="*/ 8301 h 11881"/>
              <a:gd name="connsiteX2" fmla="*/ 0 w 10000"/>
              <a:gd name="connsiteY2" fmla="*/ 6983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0000 h 11881"/>
              <a:gd name="connsiteX0" fmla="*/ 1076 w 10000"/>
              <a:gd name="connsiteY0" fmla="*/ 8301 h 10000"/>
              <a:gd name="connsiteX1" fmla="*/ 275 w 10000"/>
              <a:gd name="connsiteY1" fmla="*/ 8301 h 10000"/>
              <a:gd name="connsiteX2" fmla="*/ 0 w 10000"/>
              <a:gd name="connsiteY2" fmla="*/ 6983 h 10000"/>
              <a:gd name="connsiteX3" fmla="*/ 0 w 10000"/>
              <a:gd name="connsiteY3" fmla="*/ 467 h 10000"/>
              <a:gd name="connsiteX4" fmla="*/ 208 w 10000"/>
              <a:gd name="connsiteY4" fmla="*/ 0 h 10000"/>
              <a:gd name="connsiteX5" fmla="*/ 4006 w 10000"/>
              <a:gd name="connsiteY5" fmla="*/ 0 h 10000"/>
              <a:gd name="connsiteX6" fmla="*/ 4165 w 10000"/>
              <a:gd name="connsiteY6" fmla="*/ 167 h 10000"/>
              <a:gd name="connsiteX7" fmla="*/ 4168 w 10000"/>
              <a:gd name="connsiteY7" fmla="*/ 167 h 10000"/>
              <a:gd name="connsiteX8" fmla="*/ 4371 w 10000"/>
              <a:gd name="connsiteY8" fmla="*/ 922 h 10000"/>
              <a:gd name="connsiteX9" fmla="*/ 10000 w 10000"/>
              <a:gd name="connsiteY9" fmla="*/ 919 h 10000"/>
              <a:gd name="connsiteX10" fmla="*/ 10000 w 10000"/>
              <a:gd name="connsiteY10" fmla="*/ 10000 h 10000"/>
              <a:gd name="connsiteX0" fmla="*/ 1076 w 10000"/>
              <a:gd name="connsiteY0" fmla="*/ 8301 h 10000"/>
              <a:gd name="connsiteX1" fmla="*/ 275 w 10000"/>
              <a:gd name="connsiteY1" fmla="*/ 8301 h 10000"/>
              <a:gd name="connsiteX2" fmla="*/ 0 w 10000"/>
              <a:gd name="connsiteY2" fmla="*/ 7484 h 10000"/>
              <a:gd name="connsiteX3" fmla="*/ 0 w 10000"/>
              <a:gd name="connsiteY3" fmla="*/ 467 h 10000"/>
              <a:gd name="connsiteX4" fmla="*/ 208 w 10000"/>
              <a:gd name="connsiteY4" fmla="*/ 0 h 10000"/>
              <a:gd name="connsiteX5" fmla="*/ 4006 w 10000"/>
              <a:gd name="connsiteY5" fmla="*/ 0 h 10000"/>
              <a:gd name="connsiteX6" fmla="*/ 4165 w 10000"/>
              <a:gd name="connsiteY6" fmla="*/ 167 h 10000"/>
              <a:gd name="connsiteX7" fmla="*/ 4168 w 10000"/>
              <a:gd name="connsiteY7" fmla="*/ 167 h 10000"/>
              <a:gd name="connsiteX8" fmla="*/ 4371 w 10000"/>
              <a:gd name="connsiteY8" fmla="*/ 922 h 10000"/>
              <a:gd name="connsiteX9" fmla="*/ 10000 w 10000"/>
              <a:gd name="connsiteY9" fmla="*/ 919 h 10000"/>
              <a:gd name="connsiteX10" fmla="*/ 10000 w 10000"/>
              <a:gd name="connsiteY10" fmla="*/ 10000 h 10000"/>
              <a:gd name="connsiteX0" fmla="*/ 1076 w 10000"/>
              <a:gd name="connsiteY0" fmla="*/ 8301 h 10000"/>
              <a:gd name="connsiteX1" fmla="*/ 275 w 10000"/>
              <a:gd name="connsiteY1" fmla="*/ 8113 h 10000"/>
              <a:gd name="connsiteX2" fmla="*/ 0 w 10000"/>
              <a:gd name="connsiteY2" fmla="*/ 7484 h 10000"/>
              <a:gd name="connsiteX3" fmla="*/ 0 w 10000"/>
              <a:gd name="connsiteY3" fmla="*/ 467 h 10000"/>
              <a:gd name="connsiteX4" fmla="*/ 208 w 10000"/>
              <a:gd name="connsiteY4" fmla="*/ 0 h 10000"/>
              <a:gd name="connsiteX5" fmla="*/ 4006 w 10000"/>
              <a:gd name="connsiteY5" fmla="*/ 0 h 10000"/>
              <a:gd name="connsiteX6" fmla="*/ 4165 w 10000"/>
              <a:gd name="connsiteY6" fmla="*/ 167 h 10000"/>
              <a:gd name="connsiteX7" fmla="*/ 4168 w 10000"/>
              <a:gd name="connsiteY7" fmla="*/ 167 h 10000"/>
              <a:gd name="connsiteX8" fmla="*/ 4371 w 10000"/>
              <a:gd name="connsiteY8" fmla="*/ 922 h 10000"/>
              <a:gd name="connsiteX9" fmla="*/ 10000 w 10000"/>
              <a:gd name="connsiteY9" fmla="*/ 919 h 10000"/>
              <a:gd name="connsiteX10" fmla="*/ 10000 w 10000"/>
              <a:gd name="connsiteY10" fmla="*/ 10000 h 10000"/>
              <a:gd name="connsiteX0" fmla="*/ 1076 w 10000"/>
              <a:gd name="connsiteY0" fmla="*/ 8113 h 10000"/>
              <a:gd name="connsiteX1" fmla="*/ 275 w 10000"/>
              <a:gd name="connsiteY1" fmla="*/ 8113 h 10000"/>
              <a:gd name="connsiteX2" fmla="*/ 0 w 10000"/>
              <a:gd name="connsiteY2" fmla="*/ 7484 h 10000"/>
              <a:gd name="connsiteX3" fmla="*/ 0 w 10000"/>
              <a:gd name="connsiteY3" fmla="*/ 467 h 10000"/>
              <a:gd name="connsiteX4" fmla="*/ 208 w 10000"/>
              <a:gd name="connsiteY4" fmla="*/ 0 h 10000"/>
              <a:gd name="connsiteX5" fmla="*/ 4006 w 10000"/>
              <a:gd name="connsiteY5" fmla="*/ 0 h 10000"/>
              <a:gd name="connsiteX6" fmla="*/ 4165 w 10000"/>
              <a:gd name="connsiteY6" fmla="*/ 167 h 10000"/>
              <a:gd name="connsiteX7" fmla="*/ 4168 w 10000"/>
              <a:gd name="connsiteY7" fmla="*/ 167 h 10000"/>
              <a:gd name="connsiteX8" fmla="*/ 4371 w 10000"/>
              <a:gd name="connsiteY8" fmla="*/ 922 h 10000"/>
              <a:gd name="connsiteX9" fmla="*/ 10000 w 10000"/>
              <a:gd name="connsiteY9" fmla="*/ 919 h 10000"/>
              <a:gd name="connsiteX10" fmla="*/ 10000 w 10000"/>
              <a:gd name="connsiteY10"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1076" y="8113"/>
                </a:moveTo>
                <a:lnTo>
                  <a:pt x="275" y="8113"/>
                </a:lnTo>
                <a:cubicBezTo>
                  <a:pt x="100" y="8113"/>
                  <a:pt x="0" y="7875"/>
                  <a:pt x="0" y="7484"/>
                </a:cubicBezTo>
                <a:lnTo>
                  <a:pt x="0" y="467"/>
                </a:lnTo>
                <a:cubicBezTo>
                  <a:pt x="0" y="207"/>
                  <a:pt x="92" y="0"/>
                  <a:pt x="208" y="0"/>
                </a:cubicBezTo>
                <a:lnTo>
                  <a:pt x="4006" y="0"/>
                </a:lnTo>
                <a:cubicBezTo>
                  <a:pt x="4067" y="0"/>
                  <a:pt x="4126" y="63"/>
                  <a:pt x="4165" y="167"/>
                </a:cubicBezTo>
                <a:lnTo>
                  <a:pt x="4168" y="167"/>
                </a:lnTo>
                <a:cubicBezTo>
                  <a:pt x="4236" y="419"/>
                  <a:pt x="4303" y="670"/>
                  <a:pt x="4371" y="922"/>
                </a:cubicBezTo>
                <a:lnTo>
                  <a:pt x="10000" y="919"/>
                </a:lnTo>
                <a:lnTo>
                  <a:pt x="10000" y="10000"/>
                </a:lnTo>
              </a:path>
            </a:pathLst>
          </a:custGeom>
          <a:noFill/>
          <a:ln w="9525" cap="flat">
            <a:solidFill>
              <a:schemeClr val="bg1">
                <a:lumMod val="65000"/>
              </a:schemeClr>
            </a:solidFill>
            <a:prstDash val="solid"/>
            <a:miter lim="800000"/>
            <a:headEnd type="diamond"/>
            <a:tailEnd type="diamond"/>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endParaRPr>
          </a:p>
        </p:txBody>
      </p:sp>
      <p:sp>
        <p:nvSpPr>
          <p:cNvPr id="94" name="Freeform 12"/>
          <p:cNvSpPr>
            <a:spLocks/>
          </p:cNvSpPr>
          <p:nvPr/>
        </p:nvSpPr>
        <p:spPr bwMode="auto">
          <a:xfrm>
            <a:off x="645188" y="2049124"/>
            <a:ext cx="8569326" cy="365760"/>
          </a:xfrm>
          <a:prstGeom prst="roundRect">
            <a:avLst/>
          </a:prstGeom>
          <a:solidFill>
            <a:schemeClr val="accent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2030"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Technology Stack</a:t>
            </a:r>
          </a:p>
        </p:txBody>
      </p:sp>
      <p:graphicFrame>
        <p:nvGraphicFramePr>
          <p:cNvPr id="221" name="Table 220"/>
          <p:cNvGraphicFramePr>
            <a:graphicFrameLocks noGrp="1"/>
          </p:cNvGraphicFramePr>
          <p:nvPr>
            <p:extLst>
              <p:ext uri="{D42A27DB-BD31-4B8C-83A1-F6EECF244321}">
                <p14:modId xmlns:p14="http://schemas.microsoft.com/office/powerpoint/2010/main" val="2119811916"/>
              </p:ext>
            </p:extLst>
          </p:nvPr>
        </p:nvGraphicFramePr>
        <p:xfrm>
          <a:off x="645188" y="2022455"/>
          <a:ext cx="8569326" cy="2371344"/>
        </p:xfrm>
        <a:graphic>
          <a:graphicData uri="http://schemas.openxmlformats.org/drawingml/2006/table">
            <a:tbl>
              <a:tblPr firstRow="1" bandRow="1">
                <a:tableStyleId>{C083E6E3-FA7D-4D7B-A595-EF9225AFEA82}</a:tableStyleId>
              </a:tblPr>
              <a:tblGrid>
                <a:gridCol w="1858122">
                  <a:extLst>
                    <a:ext uri="{9D8B030D-6E8A-4147-A177-3AD203B41FA5}">
                      <a16:colId xmlns:a16="http://schemas.microsoft.com/office/drawing/2014/main" val="20000"/>
                    </a:ext>
                  </a:extLst>
                </a:gridCol>
                <a:gridCol w="3355602">
                  <a:extLst>
                    <a:ext uri="{9D8B030D-6E8A-4147-A177-3AD203B41FA5}">
                      <a16:colId xmlns:a16="http://schemas.microsoft.com/office/drawing/2014/main" val="20002"/>
                    </a:ext>
                  </a:extLst>
                </a:gridCol>
                <a:gridCol w="3355602">
                  <a:extLst>
                    <a:ext uri="{9D8B030D-6E8A-4147-A177-3AD203B41FA5}">
                      <a16:colId xmlns:a16="http://schemas.microsoft.com/office/drawing/2014/main" val="20003"/>
                    </a:ext>
                  </a:extLst>
                </a:gridCol>
              </a:tblGrid>
              <a:tr h="0">
                <a:tc>
                  <a:txBody>
                    <a:bodyPr/>
                    <a:lstStyle/>
                    <a:p>
                      <a:pPr algn="l">
                        <a:spcAft>
                          <a:spcPts val="200"/>
                        </a:spcAft>
                      </a:pPr>
                      <a:r>
                        <a:rPr lang="en-US" sz="1400" b="1"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Components</a:t>
                      </a:r>
                    </a:p>
                  </a:txBody>
                  <a:tcPr marL="45720" marR="45720" marT="91440" marB="91440">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pPr algn="l">
                        <a:spcAft>
                          <a:spcPts val="200"/>
                        </a:spcAft>
                      </a:pPr>
                      <a:r>
                        <a:rPr lang="en-US" sz="14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Version 4.x</a:t>
                      </a:r>
                    </a:p>
                  </a:txBody>
                  <a:tcPr marL="45720" marR="45720" marT="91440" marB="91440">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200"/>
                        </a:spcAft>
                      </a:pPr>
                      <a:r>
                        <a:rPr lang="en-US" sz="14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Version 5.x (2018 – 2019) *</a:t>
                      </a:r>
                    </a:p>
                  </a:txBody>
                  <a:tcPr marL="45720" marR="45720" marT="91440" marB="91440">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algn="l" fontAlgn="b">
                        <a:spcAft>
                          <a:spcPts val="200"/>
                        </a:spcAft>
                      </a:pP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Application Server</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Tomcat 8</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Tomcat 8</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algn="l" fontAlgn="b">
                        <a:spcAft>
                          <a:spcPts val="200"/>
                        </a:spcAft>
                      </a:pP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JDK</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1.7.0_71</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1.7.0_71</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a:txBody>
                    <a:bodyPr/>
                    <a:lstStyle/>
                    <a:p>
                      <a:pPr algn="l" fontAlgn="b">
                        <a:spcAft>
                          <a:spcPts val="200"/>
                        </a:spcAft>
                      </a:pP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Database</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SqlServer2012</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SqlServer2016, Oracle, PostgreSQL</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p>
                      <a:pPr algn="l" fontAlgn="b">
                        <a:spcAft>
                          <a:spcPts val="200"/>
                        </a:spcAft>
                      </a:pP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Report</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SSRS, Reporting web application (JEE web app)</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SSRS, J2EE</a:t>
                      </a:r>
                      <a:r>
                        <a:rPr lang="en-US" sz="1200" b="0" i="0" u="none" strike="noStrike" baseline="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 web app reporting web application, Power BI, Kibana(ELK stack)</a:t>
                      </a:r>
                      <a:endPar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endParaRP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0">
                <a:tc>
                  <a:txBody>
                    <a:bodyPr/>
                    <a:lstStyle/>
                    <a:p>
                      <a:pPr algn="l" fontAlgn="b">
                        <a:spcAft>
                          <a:spcPts val="200"/>
                        </a:spcAft>
                      </a:pP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JDK for Handheld Device (PDA)</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err="1">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Jeoda</a:t>
                      </a: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 JVM</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err="1">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Jeoda</a:t>
                      </a: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 JVM</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0">
                <a:tc>
                  <a:txBody>
                    <a:bodyPr/>
                    <a:lstStyle/>
                    <a:p>
                      <a:pPr algn="l" fontAlgn="b">
                        <a:spcAft>
                          <a:spcPts val="200"/>
                        </a:spcAft>
                      </a:pP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Android</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Android (API level 15 onward. Ice crème sandwich)</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Aft>
                          <a:spcPts val="200"/>
                        </a:spcAft>
                      </a:pPr>
                      <a:r>
                        <a:rPr lang="en-US" sz="12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Android Stepper(compatible with Android PI)</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3" name="TextBox 2">
            <a:extLst>
              <a:ext uri="{FF2B5EF4-FFF2-40B4-BE49-F238E27FC236}">
                <a16:creationId xmlns:a16="http://schemas.microsoft.com/office/drawing/2014/main" id="{616EC247-0195-4B4F-AC54-9D079417EEE8}"/>
              </a:ext>
            </a:extLst>
          </p:cNvPr>
          <p:cNvSpPr txBox="1"/>
          <p:nvPr/>
        </p:nvSpPr>
        <p:spPr>
          <a:xfrm>
            <a:off x="264999" y="6028031"/>
            <a:ext cx="3810000" cy="246221"/>
          </a:xfrm>
          <a:prstGeom prst="rect">
            <a:avLst/>
          </a:prstGeom>
          <a:noFill/>
        </p:spPr>
        <p:txBody>
          <a:bodyPr wrap="square" rtlCol="0">
            <a:spAutoFit/>
          </a:bodyPr>
          <a:lstStyle/>
          <a:p>
            <a:r>
              <a:rPr lang="en-US" sz="10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Provided for the last two versions</a:t>
            </a:r>
            <a:endParaRPr lang="en-IN" sz="1000" dirty="0" err="1">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147650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483DC1-87C4-44F8-9EA7-4572824DEA40}"/>
              </a:ext>
            </a:extLst>
          </p:cNvPr>
          <p:cNvSpPr>
            <a:spLocks noGrp="1"/>
          </p:cNvSpPr>
          <p:nvPr>
            <p:ph type="title"/>
          </p:nvPr>
        </p:nvSpPr>
        <p:spPr/>
        <p:txBody>
          <a:bodyPr/>
          <a:lstStyle/>
          <a:p>
            <a:r>
              <a:rPr lang="en-US" dirty="0"/>
              <a:t>SESP evolution story</a:t>
            </a:r>
            <a:endParaRPr lang="en-IN" dirty="0"/>
          </a:p>
        </p:txBody>
      </p:sp>
      <p:sp>
        <p:nvSpPr>
          <p:cNvPr id="3" name="TextBox 2">
            <a:extLst>
              <a:ext uri="{FF2B5EF4-FFF2-40B4-BE49-F238E27FC236}">
                <a16:creationId xmlns:a16="http://schemas.microsoft.com/office/drawing/2014/main" id="{4EB6BB8E-1783-4251-B878-0A3EBCCC5A70}"/>
              </a:ext>
            </a:extLst>
          </p:cNvPr>
          <p:cNvSpPr txBox="1"/>
          <p:nvPr/>
        </p:nvSpPr>
        <p:spPr>
          <a:xfrm>
            <a:off x="189614" y="1371600"/>
            <a:ext cx="9448800" cy="4524315"/>
          </a:xfrm>
          <a:prstGeom prst="rect">
            <a:avLst/>
          </a:prstGeom>
          <a:noFill/>
        </p:spPr>
        <p:txBody>
          <a:bodyPr wrap="square" rtlCol="0">
            <a:spAutoFit/>
          </a:bodyPr>
          <a:lstStyle/>
          <a:p>
            <a:r>
              <a:rPr lang="en-IN" sz="1200" dirty="0">
                <a:solidFill>
                  <a:schemeClr val="tx2">
                    <a:lumMod val="50000"/>
                  </a:schemeClr>
                </a:solidFill>
              </a:rPr>
              <a:t>Smart Energy Services Platform (SESP) has a decade long history in supporting smart metering business. Over this long journey, SESP has etched its footprints in North America, Europe, Asia and Africa, enabling several major utility companies in rolling out more that 42 million smart meters.</a:t>
            </a:r>
          </a:p>
          <a:p>
            <a:r>
              <a:rPr lang="en-IN" sz="1200" dirty="0">
                <a:solidFill>
                  <a:schemeClr val="tx2">
                    <a:lumMod val="50000"/>
                  </a:schemeClr>
                </a:solidFill>
              </a:rPr>
              <a:t> </a:t>
            </a:r>
          </a:p>
          <a:p>
            <a:r>
              <a:rPr lang="en-IN" sz="1200" dirty="0">
                <a:solidFill>
                  <a:schemeClr val="tx2">
                    <a:lumMod val="50000"/>
                  </a:schemeClr>
                </a:solidFill>
              </a:rPr>
              <a:t>The brief summary below traces its evolution from its initial inception to its current status as one of industry's most flexible and robust smart meter management solution.</a:t>
            </a:r>
          </a:p>
          <a:p>
            <a:endParaRPr lang="en-IN" sz="1200" dirty="0">
              <a:solidFill>
                <a:schemeClr val="tx2">
                  <a:lumMod val="50000"/>
                </a:schemeClr>
              </a:solidFill>
            </a:endParaRPr>
          </a:p>
          <a:p>
            <a:pPr marL="171450" indent="-171450">
              <a:buFont typeface="Arial" panose="020B0604020202020204" pitchFamily="34" charset="0"/>
              <a:buChar char="•"/>
            </a:pPr>
            <a:r>
              <a:rPr lang="en-IN" sz="1200" dirty="0">
                <a:solidFill>
                  <a:schemeClr val="tx2">
                    <a:lumMod val="50000"/>
                  </a:schemeClr>
                </a:solidFill>
              </a:rPr>
              <a:t>Created in 2009, SESP was created as the workforce management system which helped utilities to devise a blueprint of their smart meter deployment program with its unique planning features. PDA solution over Windows OS was offered as the field force automation tool.</a:t>
            </a:r>
          </a:p>
          <a:p>
            <a:endParaRPr lang="en-IN" sz="1200" dirty="0">
              <a:solidFill>
                <a:schemeClr val="tx2">
                  <a:lumMod val="50000"/>
                </a:schemeClr>
              </a:solidFill>
            </a:endParaRPr>
          </a:p>
          <a:p>
            <a:pPr marL="171450" indent="-171450">
              <a:buFont typeface="Arial" panose="020B0604020202020204" pitchFamily="34" charset="0"/>
              <a:buChar char="•"/>
            </a:pPr>
            <a:r>
              <a:rPr lang="en-IN" sz="1200" dirty="0">
                <a:solidFill>
                  <a:schemeClr val="tx2">
                    <a:lumMod val="50000"/>
                  </a:schemeClr>
                </a:solidFill>
              </a:rPr>
              <a:t>In 2011, material and logistics module was included in SESP for handling devices in central and local stock-sites.</a:t>
            </a:r>
          </a:p>
          <a:p>
            <a:pPr marL="171450" indent="-171450">
              <a:buFont typeface="Arial" panose="020B0604020202020204" pitchFamily="34" charset="0"/>
              <a:buChar char="•"/>
            </a:pPr>
            <a:r>
              <a:rPr lang="en-IN" sz="1200" dirty="0">
                <a:solidFill>
                  <a:schemeClr val="tx2">
                    <a:lumMod val="50000"/>
                  </a:schemeClr>
                </a:solidFill>
              </a:rPr>
              <a:t>In 2012, meter operations module was included in SESP which enabled meter and event data collection and delivery within pre-defined SLAs.</a:t>
            </a:r>
          </a:p>
          <a:p>
            <a:pPr marL="171450" indent="-171450">
              <a:buFont typeface="Arial" panose="020B0604020202020204" pitchFamily="34" charset="0"/>
              <a:buChar char="•"/>
            </a:pPr>
            <a:r>
              <a:rPr lang="en-IN" sz="1200" dirty="0">
                <a:solidFill>
                  <a:schemeClr val="tx2">
                    <a:lumMod val="50000"/>
                  </a:schemeClr>
                </a:solidFill>
              </a:rPr>
              <a:t>In 2013, meter and event data delivery interfaces where made IEC compliant to comply with industry regulations.</a:t>
            </a:r>
          </a:p>
          <a:p>
            <a:pPr marL="171450" indent="-171450">
              <a:buFont typeface="Arial" panose="020B0604020202020204" pitchFamily="34" charset="0"/>
              <a:buChar char="•"/>
            </a:pPr>
            <a:r>
              <a:rPr lang="en-IN" sz="1200" dirty="0">
                <a:solidFill>
                  <a:schemeClr val="tx2">
                    <a:lumMod val="50000"/>
                  </a:schemeClr>
                </a:solidFill>
              </a:rPr>
              <a:t>In 2014, an open source web reporting platform was incorporated with SESP to provide visualizations of important KPIs of the system.</a:t>
            </a:r>
          </a:p>
          <a:p>
            <a:pPr marL="171450" indent="-171450">
              <a:buFont typeface="Arial" panose="020B0604020202020204" pitchFamily="34" charset="0"/>
              <a:buChar char="•"/>
            </a:pPr>
            <a:r>
              <a:rPr lang="en-IN" sz="1200" dirty="0">
                <a:solidFill>
                  <a:schemeClr val="tx2">
                    <a:lumMod val="50000"/>
                  </a:schemeClr>
                </a:solidFill>
              </a:rPr>
              <a:t>In 2015, for map support SESP was integrated with Open street map server with Geofabrik tiles</a:t>
            </a:r>
          </a:p>
          <a:p>
            <a:pPr marL="171450" indent="-171450">
              <a:buFont typeface="Arial" panose="020B0604020202020204" pitchFamily="34" charset="0"/>
              <a:buChar char="•"/>
            </a:pPr>
            <a:r>
              <a:rPr lang="en-IN" sz="1200" dirty="0">
                <a:solidFill>
                  <a:schemeClr val="tx2">
                    <a:lumMod val="50000"/>
                  </a:schemeClr>
                </a:solidFill>
              </a:rPr>
              <a:t>In 2016, SESP started offering the PDA solution for field force automation over Android OS.</a:t>
            </a:r>
          </a:p>
          <a:p>
            <a:pPr marL="171450" indent="-171450">
              <a:buFont typeface="Arial" panose="020B0604020202020204" pitchFamily="34" charset="0"/>
              <a:buChar char="•"/>
            </a:pPr>
            <a:r>
              <a:rPr lang="en-IN" sz="1200" dirty="0">
                <a:solidFill>
                  <a:schemeClr val="tx2">
                    <a:lumMod val="50000"/>
                  </a:schemeClr>
                </a:solidFill>
              </a:rPr>
              <a:t>In 2017, SESP was made GDPR compliant to follow the EU GDPR guidelines</a:t>
            </a:r>
          </a:p>
          <a:p>
            <a:pPr marL="171450" indent="-171450">
              <a:buFont typeface="Arial" panose="020B0604020202020204" pitchFamily="34" charset="0"/>
              <a:buChar char="•"/>
            </a:pPr>
            <a:r>
              <a:rPr lang="en-IN" sz="1200" dirty="0">
                <a:solidFill>
                  <a:schemeClr val="tx2">
                    <a:lumMod val="50000"/>
                  </a:schemeClr>
                </a:solidFill>
              </a:rPr>
              <a:t>In 2018, Meter data management module was added in SESP platform which enabled industry standard quality checks and business rules to collected meter and event data. Power BI reporting solution and real time analytics using ELK stack was also incorporated.</a:t>
            </a:r>
          </a:p>
          <a:p>
            <a:endParaRPr lang="en-IN" sz="1200" dirty="0">
              <a:solidFill>
                <a:schemeClr val="tx2">
                  <a:lumMod val="50000"/>
                </a:schemeClr>
              </a:solidFill>
            </a:endParaRPr>
          </a:p>
          <a:p>
            <a:pPr marL="171450" indent="-171450">
              <a:buFont typeface="Arial" panose="020B0604020202020204" pitchFamily="34" charset="0"/>
              <a:buChar char="•"/>
            </a:pPr>
            <a:r>
              <a:rPr lang="en-IN" sz="1200" dirty="0">
                <a:solidFill>
                  <a:schemeClr val="tx2">
                    <a:lumMod val="50000"/>
                  </a:schemeClr>
                </a:solidFill>
              </a:rPr>
              <a:t>2019 onwards, SESP has been restructured to be offered as a SaaS. In the coming days, solar panel installation support and billing and contract management features will be made available in SESP ecosystem.</a:t>
            </a:r>
          </a:p>
        </p:txBody>
      </p:sp>
    </p:spTree>
    <p:extLst>
      <p:ext uri="{BB962C8B-B14F-4D97-AF65-F5344CB8AC3E}">
        <p14:creationId xmlns:p14="http://schemas.microsoft.com/office/powerpoint/2010/main" val="32299007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70099-18D0-44B9-B186-7A2CF0394FF9}"/>
              </a:ext>
            </a:extLst>
          </p:cNvPr>
          <p:cNvSpPr>
            <a:spLocks noGrp="1"/>
          </p:cNvSpPr>
          <p:nvPr>
            <p:ph type="title"/>
          </p:nvPr>
        </p:nvSpPr>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Product release timelines</a:t>
            </a:r>
            <a:endParaRPr lang="en-IN" dirty="0">
              <a:latin typeface="Verdana" panose="020B0604030504040204" pitchFamily="34" charset="0"/>
              <a:ea typeface="Verdana" panose="020B0604030504040204" pitchFamily="34" charset="0"/>
              <a:cs typeface="Verdana" panose="020B0604030504040204" pitchFamily="34" charset="0"/>
            </a:endParaRPr>
          </a:p>
        </p:txBody>
      </p:sp>
      <p:cxnSp>
        <p:nvCxnSpPr>
          <p:cNvPr id="7" name="Straight Connector 6">
            <a:extLst>
              <a:ext uri="{FF2B5EF4-FFF2-40B4-BE49-F238E27FC236}">
                <a16:creationId xmlns:a16="http://schemas.microsoft.com/office/drawing/2014/main" id="{ABDACF59-753E-478E-ABE9-F446FAE109C1}"/>
              </a:ext>
            </a:extLst>
          </p:cNvPr>
          <p:cNvCxnSpPr/>
          <p:nvPr/>
        </p:nvCxnSpPr>
        <p:spPr>
          <a:xfrm>
            <a:off x="838200" y="1524000"/>
            <a:ext cx="0" cy="396240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7C090FF-8367-49C8-AED5-407C15F7A014}"/>
              </a:ext>
            </a:extLst>
          </p:cNvPr>
          <p:cNvCxnSpPr>
            <a:cxnSpLocks/>
          </p:cNvCxnSpPr>
          <p:nvPr/>
        </p:nvCxnSpPr>
        <p:spPr>
          <a:xfrm>
            <a:off x="838200" y="5486400"/>
            <a:ext cx="8915400"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CF05536-796B-49E6-BA36-A61FB5762C3C}"/>
              </a:ext>
            </a:extLst>
          </p:cNvPr>
          <p:cNvCxnSpPr/>
          <p:nvPr/>
        </p:nvCxnSpPr>
        <p:spPr>
          <a:xfrm>
            <a:off x="1600200" y="1524000"/>
            <a:ext cx="0" cy="411480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F0B1724-5B2F-4C65-8BA2-30C795B7DDA6}"/>
              </a:ext>
            </a:extLst>
          </p:cNvPr>
          <p:cNvCxnSpPr/>
          <p:nvPr/>
        </p:nvCxnSpPr>
        <p:spPr>
          <a:xfrm>
            <a:off x="2362200" y="1524000"/>
            <a:ext cx="0" cy="411480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96E58B8-5376-4311-A161-A1B8E709BC25}"/>
              </a:ext>
            </a:extLst>
          </p:cNvPr>
          <p:cNvCxnSpPr/>
          <p:nvPr/>
        </p:nvCxnSpPr>
        <p:spPr>
          <a:xfrm>
            <a:off x="3124200" y="1524000"/>
            <a:ext cx="0" cy="411480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5638C3D-92D0-4E70-9358-98E877834DBE}"/>
              </a:ext>
            </a:extLst>
          </p:cNvPr>
          <p:cNvCxnSpPr/>
          <p:nvPr/>
        </p:nvCxnSpPr>
        <p:spPr>
          <a:xfrm>
            <a:off x="3962400" y="1524000"/>
            <a:ext cx="0" cy="411480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739BA05-C73F-4278-B925-0732335CBE5D}"/>
              </a:ext>
            </a:extLst>
          </p:cNvPr>
          <p:cNvCxnSpPr/>
          <p:nvPr/>
        </p:nvCxnSpPr>
        <p:spPr>
          <a:xfrm>
            <a:off x="4800600" y="1524000"/>
            <a:ext cx="0" cy="411480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4EC3D0E-B7BE-4A8B-9323-D2CBE7A52590}"/>
              </a:ext>
            </a:extLst>
          </p:cNvPr>
          <p:cNvCxnSpPr/>
          <p:nvPr/>
        </p:nvCxnSpPr>
        <p:spPr>
          <a:xfrm>
            <a:off x="5638800" y="1524000"/>
            <a:ext cx="0" cy="411480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D3E18A3-CA1A-4AF7-9605-0AE72C5DDD9B}"/>
              </a:ext>
            </a:extLst>
          </p:cNvPr>
          <p:cNvCxnSpPr/>
          <p:nvPr/>
        </p:nvCxnSpPr>
        <p:spPr>
          <a:xfrm>
            <a:off x="6477000" y="1524000"/>
            <a:ext cx="0" cy="411480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6A309C8-E232-40F2-90F1-A4B22E445D27}"/>
              </a:ext>
            </a:extLst>
          </p:cNvPr>
          <p:cNvCxnSpPr/>
          <p:nvPr/>
        </p:nvCxnSpPr>
        <p:spPr>
          <a:xfrm>
            <a:off x="7315200" y="1524000"/>
            <a:ext cx="0" cy="411480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E869F8D-4AC7-4504-BC09-D0033FE041CB}"/>
              </a:ext>
            </a:extLst>
          </p:cNvPr>
          <p:cNvCxnSpPr/>
          <p:nvPr/>
        </p:nvCxnSpPr>
        <p:spPr>
          <a:xfrm>
            <a:off x="8153400" y="1524000"/>
            <a:ext cx="0" cy="411480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B8803DB-540C-4374-841C-950F97234164}"/>
              </a:ext>
            </a:extLst>
          </p:cNvPr>
          <p:cNvCxnSpPr/>
          <p:nvPr/>
        </p:nvCxnSpPr>
        <p:spPr>
          <a:xfrm>
            <a:off x="8991600" y="1524000"/>
            <a:ext cx="0" cy="411480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D546D10F-2E99-4320-8ECE-FD87B2AC9B1A}"/>
              </a:ext>
            </a:extLst>
          </p:cNvPr>
          <p:cNvSpPr txBox="1"/>
          <p:nvPr/>
        </p:nvSpPr>
        <p:spPr>
          <a:xfrm>
            <a:off x="1371601" y="5621455"/>
            <a:ext cx="457197" cy="215444"/>
          </a:xfrm>
          <a:prstGeom prst="rect">
            <a:avLst/>
          </a:prstGeom>
          <a:noFill/>
        </p:spPr>
        <p:txBody>
          <a:bodyPr wrap="square" rtlCol="0">
            <a:spAutoFit/>
          </a:bodyPr>
          <a:lstStyle/>
          <a:p>
            <a:r>
              <a:rPr lang="en-US" sz="800" b="1" dirty="0">
                <a:solidFill>
                  <a:schemeClr val="tx2">
                    <a:lumMod val="50000"/>
                  </a:schemeClr>
                </a:solidFill>
              </a:rPr>
              <a:t>2010</a:t>
            </a:r>
            <a:endParaRPr lang="en-IN" sz="800" b="1" dirty="0" err="1">
              <a:solidFill>
                <a:schemeClr val="tx2">
                  <a:lumMod val="50000"/>
                </a:schemeClr>
              </a:solidFill>
            </a:endParaRPr>
          </a:p>
        </p:txBody>
      </p:sp>
      <p:sp>
        <p:nvSpPr>
          <p:cNvPr id="27" name="TextBox 26">
            <a:extLst>
              <a:ext uri="{FF2B5EF4-FFF2-40B4-BE49-F238E27FC236}">
                <a16:creationId xmlns:a16="http://schemas.microsoft.com/office/drawing/2014/main" id="{6C8D5306-4042-45EB-B203-0436058877A9}"/>
              </a:ext>
            </a:extLst>
          </p:cNvPr>
          <p:cNvSpPr txBox="1"/>
          <p:nvPr/>
        </p:nvSpPr>
        <p:spPr>
          <a:xfrm>
            <a:off x="2129170" y="5638800"/>
            <a:ext cx="457197" cy="215444"/>
          </a:xfrm>
          <a:prstGeom prst="rect">
            <a:avLst/>
          </a:prstGeom>
          <a:noFill/>
        </p:spPr>
        <p:txBody>
          <a:bodyPr wrap="square" rtlCol="0">
            <a:spAutoFit/>
          </a:bodyPr>
          <a:lstStyle/>
          <a:p>
            <a:r>
              <a:rPr lang="en-US" sz="800" b="1" dirty="0">
                <a:solidFill>
                  <a:schemeClr val="tx2">
                    <a:lumMod val="50000"/>
                  </a:schemeClr>
                </a:solidFill>
              </a:rPr>
              <a:t>2011</a:t>
            </a:r>
            <a:endParaRPr lang="en-IN" sz="800" b="1" dirty="0" err="1">
              <a:solidFill>
                <a:schemeClr val="tx2">
                  <a:lumMod val="50000"/>
                </a:schemeClr>
              </a:solidFill>
            </a:endParaRPr>
          </a:p>
        </p:txBody>
      </p:sp>
      <p:sp>
        <p:nvSpPr>
          <p:cNvPr id="28" name="TextBox 27">
            <a:extLst>
              <a:ext uri="{FF2B5EF4-FFF2-40B4-BE49-F238E27FC236}">
                <a16:creationId xmlns:a16="http://schemas.microsoft.com/office/drawing/2014/main" id="{61EA02A6-C070-428B-ACDE-B722BCDE5C18}"/>
              </a:ext>
            </a:extLst>
          </p:cNvPr>
          <p:cNvSpPr txBox="1"/>
          <p:nvPr/>
        </p:nvSpPr>
        <p:spPr>
          <a:xfrm>
            <a:off x="2901805" y="5638800"/>
            <a:ext cx="457197" cy="215444"/>
          </a:xfrm>
          <a:prstGeom prst="rect">
            <a:avLst/>
          </a:prstGeom>
          <a:noFill/>
        </p:spPr>
        <p:txBody>
          <a:bodyPr wrap="square" rtlCol="0">
            <a:spAutoFit/>
          </a:bodyPr>
          <a:lstStyle/>
          <a:p>
            <a:r>
              <a:rPr lang="en-US" sz="800" b="1" dirty="0">
                <a:solidFill>
                  <a:schemeClr val="tx2">
                    <a:lumMod val="50000"/>
                  </a:schemeClr>
                </a:solidFill>
              </a:rPr>
              <a:t>2012</a:t>
            </a:r>
            <a:endParaRPr lang="en-IN" sz="800" b="1" dirty="0" err="1">
              <a:solidFill>
                <a:schemeClr val="tx2">
                  <a:lumMod val="50000"/>
                </a:schemeClr>
              </a:solidFill>
            </a:endParaRPr>
          </a:p>
        </p:txBody>
      </p:sp>
      <p:sp>
        <p:nvSpPr>
          <p:cNvPr id="29" name="TextBox 28">
            <a:extLst>
              <a:ext uri="{FF2B5EF4-FFF2-40B4-BE49-F238E27FC236}">
                <a16:creationId xmlns:a16="http://schemas.microsoft.com/office/drawing/2014/main" id="{8B7F0050-3FFE-401C-88F7-3CB1C844F33D}"/>
              </a:ext>
            </a:extLst>
          </p:cNvPr>
          <p:cNvSpPr txBox="1"/>
          <p:nvPr/>
        </p:nvSpPr>
        <p:spPr>
          <a:xfrm>
            <a:off x="3733801" y="5638800"/>
            <a:ext cx="457197" cy="215444"/>
          </a:xfrm>
          <a:prstGeom prst="rect">
            <a:avLst/>
          </a:prstGeom>
          <a:noFill/>
        </p:spPr>
        <p:txBody>
          <a:bodyPr wrap="square" rtlCol="0">
            <a:spAutoFit/>
          </a:bodyPr>
          <a:lstStyle/>
          <a:p>
            <a:r>
              <a:rPr lang="en-US" sz="800" b="1" dirty="0">
                <a:solidFill>
                  <a:schemeClr val="tx2">
                    <a:lumMod val="50000"/>
                  </a:schemeClr>
                </a:solidFill>
              </a:rPr>
              <a:t>2013</a:t>
            </a:r>
            <a:endParaRPr lang="en-IN" sz="800" b="1" dirty="0" err="1">
              <a:solidFill>
                <a:schemeClr val="tx2">
                  <a:lumMod val="50000"/>
                </a:schemeClr>
              </a:solidFill>
            </a:endParaRPr>
          </a:p>
        </p:txBody>
      </p:sp>
      <p:sp>
        <p:nvSpPr>
          <p:cNvPr id="30" name="TextBox 29">
            <a:extLst>
              <a:ext uri="{FF2B5EF4-FFF2-40B4-BE49-F238E27FC236}">
                <a16:creationId xmlns:a16="http://schemas.microsoft.com/office/drawing/2014/main" id="{1A8D4BCA-37A5-4197-B61A-67B014344CA8}"/>
              </a:ext>
            </a:extLst>
          </p:cNvPr>
          <p:cNvSpPr txBox="1"/>
          <p:nvPr/>
        </p:nvSpPr>
        <p:spPr>
          <a:xfrm>
            <a:off x="4565797" y="5656520"/>
            <a:ext cx="457197" cy="215444"/>
          </a:xfrm>
          <a:prstGeom prst="rect">
            <a:avLst/>
          </a:prstGeom>
          <a:noFill/>
        </p:spPr>
        <p:txBody>
          <a:bodyPr wrap="square" rtlCol="0">
            <a:spAutoFit/>
          </a:bodyPr>
          <a:lstStyle/>
          <a:p>
            <a:r>
              <a:rPr lang="en-US" sz="800" b="1" dirty="0">
                <a:solidFill>
                  <a:schemeClr val="tx2">
                    <a:lumMod val="50000"/>
                  </a:schemeClr>
                </a:solidFill>
              </a:rPr>
              <a:t>2014</a:t>
            </a:r>
            <a:endParaRPr lang="en-IN" sz="800" b="1" dirty="0" err="1">
              <a:solidFill>
                <a:schemeClr val="tx2">
                  <a:lumMod val="50000"/>
                </a:schemeClr>
              </a:solidFill>
            </a:endParaRPr>
          </a:p>
        </p:txBody>
      </p:sp>
      <p:sp>
        <p:nvSpPr>
          <p:cNvPr id="31" name="TextBox 30">
            <a:extLst>
              <a:ext uri="{FF2B5EF4-FFF2-40B4-BE49-F238E27FC236}">
                <a16:creationId xmlns:a16="http://schemas.microsoft.com/office/drawing/2014/main" id="{A92CEAED-B55C-4BA3-BCD3-CF074D5B8E86}"/>
              </a:ext>
            </a:extLst>
          </p:cNvPr>
          <p:cNvSpPr txBox="1"/>
          <p:nvPr/>
        </p:nvSpPr>
        <p:spPr>
          <a:xfrm>
            <a:off x="5410201" y="5652975"/>
            <a:ext cx="457197" cy="215444"/>
          </a:xfrm>
          <a:prstGeom prst="rect">
            <a:avLst/>
          </a:prstGeom>
          <a:noFill/>
        </p:spPr>
        <p:txBody>
          <a:bodyPr wrap="square" rtlCol="0">
            <a:spAutoFit/>
          </a:bodyPr>
          <a:lstStyle/>
          <a:p>
            <a:r>
              <a:rPr lang="en-US" sz="800" b="1" dirty="0">
                <a:solidFill>
                  <a:schemeClr val="tx2">
                    <a:lumMod val="50000"/>
                  </a:schemeClr>
                </a:solidFill>
              </a:rPr>
              <a:t>2015</a:t>
            </a:r>
            <a:endParaRPr lang="en-IN" sz="800" b="1" dirty="0" err="1">
              <a:solidFill>
                <a:schemeClr val="tx2">
                  <a:lumMod val="50000"/>
                </a:schemeClr>
              </a:solidFill>
            </a:endParaRPr>
          </a:p>
        </p:txBody>
      </p:sp>
      <p:sp>
        <p:nvSpPr>
          <p:cNvPr id="32" name="TextBox 31">
            <a:extLst>
              <a:ext uri="{FF2B5EF4-FFF2-40B4-BE49-F238E27FC236}">
                <a16:creationId xmlns:a16="http://schemas.microsoft.com/office/drawing/2014/main" id="{26BD56A9-582B-411A-9A83-26F05807CCD4}"/>
              </a:ext>
            </a:extLst>
          </p:cNvPr>
          <p:cNvSpPr txBox="1"/>
          <p:nvPr/>
        </p:nvSpPr>
        <p:spPr>
          <a:xfrm>
            <a:off x="6242197" y="5674237"/>
            <a:ext cx="457197" cy="215444"/>
          </a:xfrm>
          <a:prstGeom prst="rect">
            <a:avLst/>
          </a:prstGeom>
          <a:noFill/>
        </p:spPr>
        <p:txBody>
          <a:bodyPr wrap="square" rtlCol="0">
            <a:spAutoFit/>
          </a:bodyPr>
          <a:lstStyle/>
          <a:p>
            <a:r>
              <a:rPr lang="en-US" sz="800" b="1" dirty="0">
                <a:solidFill>
                  <a:schemeClr val="tx2">
                    <a:lumMod val="50000"/>
                  </a:schemeClr>
                </a:solidFill>
              </a:rPr>
              <a:t>2016</a:t>
            </a:r>
            <a:endParaRPr lang="en-IN" sz="800" b="1" dirty="0" err="1">
              <a:solidFill>
                <a:schemeClr val="tx2">
                  <a:lumMod val="50000"/>
                </a:schemeClr>
              </a:solidFill>
            </a:endParaRPr>
          </a:p>
        </p:txBody>
      </p:sp>
      <p:sp>
        <p:nvSpPr>
          <p:cNvPr id="33" name="TextBox 32">
            <a:extLst>
              <a:ext uri="{FF2B5EF4-FFF2-40B4-BE49-F238E27FC236}">
                <a16:creationId xmlns:a16="http://schemas.microsoft.com/office/drawing/2014/main" id="{BAC31E64-A74A-459E-BE9A-B7ECDF35308D}"/>
              </a:ext>
            </a:extLst>
          </p:cNvPr>
          <p:cNvSpPr txBox="1"/>
          <p:nvPr/>
        </p:nvSpPr>
        <p:spPr>
          <a:xfrm>
            <a:off x="7086601" y="5674237"/>
            <a:ext cx="457197" cy="215444"/>
          </a:xfrm>
          <a:prstGeom prst="rect">
            <a:avLst/>
          </a:prstGeom>
          <a:noFill/>
        </p:spPr>
        <p:txBody>
          <a:bodyPr wrap="square" rtlCol="0">
            <a:spAutoFit/>
          </a:bodyPr>
          <a:lstStyle/>
          <a:p>
            <a:r>
              <a:rPr lang="en-US" sz="800" b="1" dirty="0">
                <a:solidFill>
                  <a:schemeClr val="tx2">
                    <a:lumMod val="50000"/>
                  </a:schemeClr>
                </a:solidFill>
              </a:rPr>
              <a:t>2017</a:t>
            </a:r>
            <a:endParaRPr lang="en-IN" sz="800" b="1" dirty="0" err="1">
              <a:solidFill>
                <a:schemeClr val="tx2">
                  <a:lumMod val="50000"/>
                </a:schemeClr>
              </a:solidFill>
            </a:endParaRPr>
          </a:p>
        </p:txBody>
      </p:sp>
      <p:sp>
        <p:nvSpPr>
          <p:cNvPr id="34" name="TextBox 33">
            <a:extLst>
              <a:ext uri="{FF2B5EF4-FFF2-40B4-BE49-F238E27FC236}">
                <a16:creationId xmlns:a16="http://schemas.microsoft.com/office/drawing/2014/main" id="{037B3B82-57A1-4E84-8422-BE0E35B519E9}"/>
              </a:ext>
            </a:extLst>
          </p:cNvPr>
          <p:cNvSpPr txBox="1"/>
          <p:nvPr/>
        </p:nvSpPr>
        <p:spPr>
          <a:xfrm>
            <a:off x="7931005" y="5684864"/>
            <a:ext cx="457197" cy="215444"/>
          </a:xfrm>
          <a:prstGeom prst="rect">
            <a:avLst/>
          </a:prstGeom>
          <a:noFill/>
        </p:spPr>
        <p:txBody>
          <a:bodyPr wrap="square" rtlCol="0">
            <a:spAutoFit/>
          </a:bodyPr>
          <a:lstStyle/>
          <a:p>
            <a:r>
              <a:rPr lang="en-US" sz="800" b="1" dirty="0">
                <a:solidFill>
                  <a:schemeClr val="tx2">
                    <a:lumMod val="50000"/>
                  </a:schemeClr>
                </a:solidFill>
              </a:rPr>
              <a:t>2018</a:t>
            </a:r>
            <a:endParaRPr lang="en-IN" sz="800" b="1" dirty="0" err="1">
              <a:solidFill>
                <a:schemeClr val="tx2">
                  <a:lumMod val="50000"/>
                </a:schemeClr>
              </a:solidFill>
            </a:endParaRPr>
          </a:p>
        </p:txBody>
      </p:sp>
      <p:sp>
        <p:nvSpPr>
          <p:cNvPr id="35" name="TextBox 34">
            <a:extLst>
              <a:ext uri="{FF2B5EF4-FFF2-40B4-BE49-F238E27FC236}">
                <a16:creationId xmlns:a16="http://schemas.microsoft.com/office/drawing/2014/main" id="{152F2B48-B4D5-45FD-90F5-702C4A820E8C}"/>
              </a:ext>
            </a:extLst>
          </p:cNvPr>
          <p:cNvSpPr txBox="1"/>
          <p:nvPr/>
        </p:nvSpPr>
        <p:spPr>
          <a:xfrm>
            <a:off x="8775409" y="5684864"/>
            <a:ext cx="457197" cy="215444"/>
          </a:xfrm>
          <a:prstGeom prst="rect">
            <a:avLst/>
          </a:prstGeom>
          <a:noFill/>
        </p:spPr>
        <p:txBody>
          <a:bodyPr wrap="square" rtlCol="0">
            <a:spAutoFit/>
          </a:bodyPr>
          <a:lstStyle/>
          <a:p>
            <a:r>
              <a:rPr lang="en-US" sz="800" b="1" dirty="0">
                <a:solidFill>
                  <a:schemeClr val="tx2">
                    <a:lumMod val="50000"/>
                  </a:schemeClr>
                </a:solidFill>
              </a:rPr>
              <a:t>2019</a:t>
            </a:r>
            <a:endParaRPr lang="en-IN" sz="800" b="1" dirty="0" err="1">
              <a:solidFill>
                <a:schemeClr val="tx2">
                  <a:lumMod val="50000"/>
                </a:schemeClr>
              </a:solidFill>
            </a:endParaRPr>
          </a:p>
        </p:txBody>
      </p:sp>
      <p:sp>
        <p:nvSpPr>
          <p:cNvPr id="36" name="Rectangle 35">
            <a:extLst>
              <a:ext uri="{FF2B5EF4-FFF2-40B4-BE49-F238E27FC236}">
                <a16:creationId xmlns:a16="http://schemas.microsoft.com/office/drawing/2014/main" id="{D454E3D2-A783-4550-80ED-59F10B9F0A01}"/>
              </a:ext>
            </a:extLst>
          </p:cNvPr>
          <p:cNvSpPr/>
          <p:nvPr/>
        </p:nvSpPr>
        <p:spPr bwMode="auto">
          <a:xfrm>
            <a:off x="838200" y="5045204"/>
            <a:ext cx="1523999" cy="22855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1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3.10</a:t>
            </a:r>
            <a:endParaRPr kumimoji="0" lang="en-IN" sz="11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endParaRPr>
          </a:p>
        </p:txBody>
      </p:sp>
      <p:sp>
        <p:nvSpPr>
          <p:cNvPr id="37" name="Rectangle 36">
            <a:extLst>
              <a:ext uri="{FF2B5EF4-FFF2-40B4-BE49-F238E27FC236}">
                <a16:creationId xmlns:a16="http://schemas.microsoft.com/office/drawing/2014/main" id="{B3E0B568-20B1-4C23-A215-D279024650B4}"/>
              </a:ext>
            </a:extLst>
          </p:cNvPr>
          <p:cNvSpPr/>
          <p:nvPr/>
        </p:nvSpPr>
        <p:spPr bwMode="auto">
          <a:xfrm>
            <a:off x="2373717" y="4707683"/>
            <a:ext cx="3265074" cy="228535"/>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1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3.14 – 3.18</a:t>
            </a:r>
            <a:endParaRPr kumimoji="0" lang="en-IN" sz="11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endParaRPr>
          </a:p>
        </p:txBody>
      </p:sp>
      <p:sp>
        <p:nvSpPr>
          <p:cNvPr id="38" name="Rectangle 37">
            <a:extLst>
              <a:ext uri="{FF2B5EF4-FFF2-40B4-BE49-F238E27FC236}">
                <a16:creationId xmlns:a16="http://schemas.microsoft.com/office/drawing/2014/main" id="{35FD94EA-CA8E-4CA0-97E6-07BEC35AF5AE}"/>
              </a:ext>
            </a:extLst>
          </p:cNvPr>
          <p:cNvSpPr/>
          <p:nvPr/>
        </p:nvSpPr>
        <p:spPr bwMode="auto">
          <a:xfrm>
            <a:off x="5648109" y="4362890"/>
            <a:ext cx="1676409" cy="235793"/>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100" b="1" dirty="0">
                <a:latin typeface="Verdana" panose="020B0604030504040204" pitchFamily="34" charset="0"/>
                <a:ea typeface="Verdana" panose="020B0604030504040204" pitchFamily="34" charset="0"/>
                <a:cs typeface="Verdana" panose="020B0604030504040204" pitchFamily="34" charset="0"/>
              </a:rPr>
              <a:t>3.20 – 3.25</a:t>
            </a:r>
            <a:endParaRPr lang="en-IN" sz="1100" b="1" dirty="0">
              <a:latin typeface="Verdana" panose="020B0604030504040204" pitchFamily="34" charset="0"/>
              <a:ea typeface="Verdana" panose="020B0604030504040204" pitchFamily="34" charset="0"/>
              <a:cs typeface="Verdana" panose="020B0604030504040204" pitchFamily="34" charset="0"/>
            </a:endParaRPr>
          </a:p>
        </p:txBody>
      </p:sp>
      <p:sp>
        <p:nvSpPr>
          <p:cNvPr id="39" name="Rectangle 38">
            <a:extLst>
              <a:ext uri="{FF2B5EF4-FFF2-40B4-BE49-F238E27FC236}">
                <a16:creationId xmlns:a16="http://schemas.microsoft.com/office/drawing/2014/main" id="{97709C20-028F-468D-BBD0-B67009C91834}"/>
              </a:ext>
            </a:extLst>
          </p:cNvPr>
          <p:cNvSpPr/>
          <p:nvPr/>
        </p:nvSpPr>
        <p:spPr bwMode="auto">
          <a:xfrm>
            <a:off x="4803708" y="3789307"/>
            <a:ext cx="1682605" cy="228535"/>
          </a:xfrm>
          <a:prstGeom prst="rect">
            <a:avLst/>
          </a:prstGeom>
          <a:solidFill>
            <a:srgbClr val="6EAF27"/>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100" b="1" dirty="0">
                <a:latin typeface="Verdana" panose="020B0604030504040204" pitchFamily="34" charset="0"/>
                <a:ea typeface="Verdana" panose="020B0604030504040204" pitchFamily="34" charset="0"/>
                <a:cs typeface="Verdana" panose="020B0604030504040204" pitchFamily="34" charset="0"/>
              </a:rPr>
              <a:t>4.0</a:t>
            </a:r>
            <a:endParaRPr lang="en-IN" sz="1100" b="1" dirty="0">
              <a:latin typeface="Verdana" panose="020B0604030504040204" pitchFamily="34" charset="0"/>
              <a:ea typeface="Verdana" panose="020B0604030504040204" pitchFamily="34" charset="0"/>
              <a:cs typeface="Verdana" panose="020B0604030504040204" pitchFamily="34" charset="0"/>
            </a:endParaRPr>
          </a:p>
        </p:txBody>
      </p:sp>
      <p:sp>
        <p:nvSpPr>
          <p:cNvPr id="40" name="Rectangle 39">
            <a:extLst>
              <a:ext uri="{FF2B5EF4-FFF2-40B4-BE49-F238E27FC236}">
                <a16:creationId xmlns:a16="http://schemas.microsoft.com/office/drawing/2014/main" id="{33B35A2E-DB66-4AB0-9D3E-FD20C78A331F}"/>
              </a:ext>
            </a:extLst>
          </p:cNvPr>
          <p:cNvSpPr/>
          <p:nvPr/>
        </p:nvSpPr>
        <p:spPr bwMode="auto">
          <a:xfrm>
            <a:off x="5638800" y="3367400"/>
            <a:ext cx="1682605" cy="228535"/>
          </a:xfrm>
          <a:prstGeom prst="rect">
            <a:avLst/>
          </a:prstGeom>
          <a:solidFill>
            <a:srgbClr val="6EAF27"/>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100" b="1" dirty="0">
                <a:latin typeface="Verdana" panose="020B0604030504040204" pitchFamily="34" charset="0"/>
                <a:ea typeface="Verdana" panose="020B0604030504040204" pitchFamily="34" charset="0"/>
                <a:cs typeface="Verdana" panose="020B0604030504040204" pitchFamily="34" charset="0"/>
              </a:rPr>
              <a:t>4.1</a:t>
            </a:r>
            <a:endParaRPr lang="en-IN" sz="1100" b="1" dirty="0">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a:extLst>
              <a:ext uri="{FF2B5EF4-FFF2-40B4-BE49-F238E27FC236}">
                <a16:creationId xmlns:a16="http://schemas.microsoft.com/office/drawing/2014/main" id="{964E9244-66B9-490F-A1C2-FC21ADF362D0}"/>
              </a:ext>
            </a:extLst>
          </p:cNvPr>
          <p:cNvSpPr/>
          <p:nvPr/>
        </p:nvSpPr>
        <p:spPr bwMode="auto">
          <a:xfrm>
            <a:off x="6486313" y="2943770"/>
            <a:ext cx="2514600" cy="235794"/>
          </a:xfrm>
          <a:prstGeom prst="rect">
            <a:avLst/>
          </a:prstGeom>
          <a:solidFill>
            <a:srgbClr val="6EAF27"/>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100" b="1" dirty="0">
                <a:latin typeface="Verdana" panose="020B0604030504040204" pitchFamily="34" charset="0"/>
                <a:ea typeface="Verdana" panose="020B0604030504040204" pitchFamily="34" charset="0"/>
                <a:cs typeface="Verdana" panose="020B0604030504040204" pitchFamily="34" charset="0"/>
              </a:rPr>
              <a:t>4.2</a:t>
            </a:r>
            <a:endParaRPr lang="en-IN" sz="1100" b="1" dirty="0">
              <a:latin typeface="Verdana" panose="020B0604030504040204" pitchFamily="34" charset="0"/>
              <a:ea typeface="Verdana" panose="020B0604030504040204" pitchFamily="34" charset="0"/>
              <a:cs typeface="Verdana" panose="020B0604030504040204" pitchFamily="34" charset="0"/>
            </a:endParaRPr>
          </a:p>
        </p:txBody>
      </p:sp>
      <p:sp>
        <p:nvSpPr>
          <p:cNvPr id="43" name="Arrow: Right 42">
            <a:extLst>
              <a:ext uri="{FF2B5EF4-FFF2-40B4-BE49-F238E27FC236}">
                <a16:creationId xmlns:a16="http://schemas.microsoft.com/office/drawing/2014/main" id="{0FBF202D-32CE-4F74-9883-CF1A14C64328}"/>
              </a:ext>
            </a:extLst>
          </p:cNvPr>
          <p:cNvSpPr/>
          <p:nvPr/>
        </p:nvSpPr>
        <p:spPr bwMode="auto">
          <a:xfrm>
            <a:off x="8153400" y="1623006"/>
            <a:ext cx="1752596" cy="482337"/>
          </a:xfrm>
          <a:prstGeom prst="rightArrow">
            <a:avLst/>
          </a:prstGeom>
          <a:solidFill>
            <a:schemeClr val="accent2">
              <a:lumMod val="20000"/>
              <a:lumOff val="80000"/>
            </a:schemeClr>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100" b="1" dirty="0">
                <a:latin typeface="Verdana" panose="020B0604030504040204" pitchFamily="34" charset="0"/>
                <a:ea typeface="Verdana" panose="020B0604030504040204" pitchFamily="34" charset="0"/>
                <a:cs typeface="Verdana" panose="020B0604030504040204" pitchFamily="34" charset="0"/>
              </a:rPr>
              <a:t>5.0</a:t>
            </a:r>
            <a:endParaRPr lang="en-IN" sz="1100" b="1" dirty="0">
              <a:latin typeface="Verdana" panose="020B0604030504040204" pitchFamily="34" charset="0"/>
              <a:ea typeface="Verdana" panose="020B0604030504040204" pitchFamily="34" charset="0"/>
              <a:cs typeface="Verdana" panose="020B0604030504040204" pitchFamily="34" charset="0"/>
            </a:endParaRPr>
          </a:p>
        </p:txBody>
      </p:sp>
      <p:sp>
        <p:nvSpPr>
          <p:cNvPr id="44" name="Arrow: Right 43">
            <a:extLst>
              <a:ext uri="{FF2B5EF4-FFF2-40B4-BE49-F238E27FC236}">
                <a16:creationId xmlns:a16="http://schemas.microsoft.com/office/drawing/2014/main" id="{CB05B546-D165-4446-9914-BA9F2E5CA531}"/>
              </a:ext>
            </a:extLst>
          </p:cNvPr>
          <p:cNvSpPr/>
          <p:nvPr/>
        </p:nvSpPr>
        <p:spPr bwMode="auto">
          <a:xfrm>
            <a:off x="8991601" y="2438401"/>
            <a:ext cx="914399" cy="482337"/>
          </a:xfrm>
          <a:prstGeom prst="rightArrow">
            <a:avLst/>
          </a:prstGeom>
          <a:solidFill>
            <a:srgbClr val="6EAF27"/>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1100" b="1" dirty="0">
              <a:latin typeface="Verdana" panose="020B0604030504040204" pitchFamily="34" charset="0"/>
              <a:ea typeface="Verdana" panose="020B0604030504040204" pitchFamily="34" charset="0"/>
              <a:cs typeface="Verdana" panose="020B0604030504040204" pitchFamily="34" charset="0"/>
            </a:endParaRPr>
          </a:p>
          <a:p>
            <a:pPr algn="ctr" defTabSz="914400" eaLnBrk="0" fontAlgn="base" hangingPunct="0">
              <a:lnSpc>
                <a:spcPct val="85000"/>
              </a:lnSpc>
              <a:spcBef>
                <a:spcPct val="0"/>
              </a:spcBef>
              <a:spcAft>
                <a:spcPct val="0"/>
              </a:spcAft>
            </a:pPr>
            <a:endParaRPr lang="en-US" sz="1100" b="1" dirty="0">
              <a:latin typeface="Verdana" panose="020B0604030504040204" pitchFamily="34" charset="0"/>
              <a:ea typeface="Verdana" panose="020B0604030504040204" pitchFamily="34" charset="0"/>
              <a:cs typeface="Verdana" panose="020B0604030504040204" pitchFamily="34" charset="0"/>
            </a:endParaRPr>
          </a:p>
          <a:p>
            <a:pPr algn="ctr" defTabSz="914400" eaLnBrk="0" fontAlgn="base" hangingPunct="0">
              <a:lnSpc>
                <a:spcPct val="85000"/>
              </a:lnSpc>
              <a:spcBef>
                <a:spcPct val="0"/>
              </a:spcBef>
              <a:spcAft>
                <a:spcPct val="0"/>
              </a:spcAft>
            </a:pPr>
            <a:r>
              <a:rPr lang="en-US" sz="1100" b="1" dirty="0">
                <a:latin typeface="Verdana" panose="020B0604030504040204" pitchFamily="34" charset="0"/>
                <a:ea typeface="Verdana" panose="020B0604030504040204" pitchFamily="34" charset="0"/>
                <a:cs typeface="Verdana" panose="020B0604030504040204" pitchFamily="34" charset="0"/>
              </a:rPr>
              <a:t>4.3</a:t>
            </a:r>
            <a:endParaRPr lang="en-IN" sz="1100" b="1" dirty="0">
              <a:latin typeface="Verdana" panose="020B0604030504040204" pitchFamily="34" charset="0"/>
              <a:ea typeface="Verdana" panose="020B0604030504040204" pitchFamily="34" charset="0"/>
              <a:cs typeface="Verdana" panose="020B0604030504040204" pitchFamily="34" charset="0"/>
            </a:endParaRPr>
          </a:p>
          <a:p>
            <a:pPr marL="0" marR="0" indent="0" algn="ctr" defTabSz="914400" rtl="0" eaLnBrk="0" fontAlgn="base" latinLnBrk="0" hangingPunct="0">
              <a:lnSpc>
                <a:spcPct val="85000"/>
              </a:lnSpc>
              <a:spcBef>
                <a:spcPct val="0"/>
              </a:spcBef>
              <a:spcAft>
                <a:spcPct val="0"/>
              </a:spcAft>
              <a:buClrTx/>
              <a:buSzTx/>
              <a:buFontTx/>
              <a:buNone/>
              <a:tabLst/>
            </a:pPr>
            <a:endParaRPr kumimoji="0" lang="en-IN" sz="2000" b="1" i="0" u="none" strike="noStrike" cap="none" normalizeH="0" baseline="0" dirty="0">
              <a:ln>
                <a:noFill/>
              </a:ln>
              <a:solidFill>
                <a:schemeClr val="bg1"/>
              </a:solidFill>
              <a:effectLst/>
              <a:latin typeface="Arial" charset="0"/>
              <a:cs typeface="Arial" charset="0"/>
            </a:endParaRPr>
          </a:p>
        </p:txBody>
      </p:sp>
      <p:cxnSp>
        <p:nvCxnSpPr>
          <p:cNvPr id="46" name="Straight Connector 45">
            <a:extLst>
              <a:ext uri="{FF2B5EF4-FFF2-40B4-BE49-F238E27FC236}">
                <a16:creationId xmlns:a16="http://schemas.microsoft.com/office/drawing/2014/main" id="{7712A33C-0972-48C3-BBAE-95373493F597}"/>
              </a:ext>
            </a:extLst>
          </p:cNvPr>
          <p:cNvCxnSpPr/>
          <p:nvPr/>
        </p:nvCxnSpPr>
        <p:spPr>
          <a:xfrm>
            <a:off x="457200" y="2286000"/>
            <a:ext cx="0" cy="21265"/>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FFFE64A-1905-445E-8AC2-D1721BBD19D5}"/>
              </a:ext>
            </a:extLst>
          </p:cNvPr>
          <p:cNvCxnSpPr/>
          <p:nvPr/>
        </p:nvCxnSpPr>
        <p:spPr>
          <a:xfrm>
            <a:off x="228600" y="2286000"/>
            <a:ext cx="9525000" cy="0"/>
          </a:xfrm>
          <a:prstGeom prst="line">
            <a:avLst/>
          </a:prstGeom>
          <a:ln>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0317B69-D539-41A6-A07F-D5C024D9E084}"/>
              </a:ext>
            </a:extLst>
          </p:cNvPr>
          <p:cNvCxnSpPr/>
          <p:nvPr/>
        </p:nvCxnSpPr>
        <p:spPr>
          <a:xfrm>
            <a:off x="190500" y="4191000"/>
            <a:ext cx="9525000" cy="0"/>
          </a:xfrm>
          <a:prstGeom prst="line">
            <a:avLst/>
          </a:prstGeom>
          <a:ln>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B3E5755B-9557-459D-86EF-926CC1A6717B}"/>
              </a:ext>
            </a:extLst>
          </p:cNvPr>
          <p:cNvSpPr txBox="1"/>
          <p:nvPr/>
        </p:nvSpPr>
        <p:spPr>
          <a:xfrm>
            <a:off x="0" y="1623006"/>
            <a:ext cx="914393" cy="600164"/>
          </a:xfrm>
          <a:prstGeom prst="rect">
            <a:avLst/>
          </a:prstGeom>
          <a:noFill/>
        </p:spPr>
        <p:txBody>
          <a:bodyPr wrap="square" rtlCol="0">
            <a:spAutoFit/>
          </a:bodyPr>
          <a:lstStyle/>
          <a:p>
            <a:pPr algn="ctr"/>
            <a:r>
              <a:rPr lang="en-US" sz="11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Product</a:t>
            </a:r>
          </a:p>
          <a:p>
            <a:pPr algn="ctr"/>
            <a:r>
              <a:rPr lang="en-US" sz="11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Version 5</a:t>
            </a:r>
            <a:endParaRPr lang="en-IN" sz="1100" b="1" dirty="0" err="1">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3" name="TextBox 52">
            <a:extLst>
              <a:ext uri="{FF2B5EF4-FFF2-40B4-BE49-F238E27FC236}">
                <a16:creationId xmlns:a16="http://schemas.microsoft.com/office/drawing/2014/main" id="{CC490776-6291-4381-83AA-6C6188AE5166}"/>
              </a:ext>
            </a:extLst>
          </p:cNvPr>
          <p:cNvSpPr txBox="1"/>
          <p:nvPr/>
        </p:nvSpPr>
        <p:spPr>
          <a:xfrm>
            <a:off x="1320" y="2969121"/>
            <a:ext cx="914393" cy="600164"/>
          </a:xfrm>
          <a:prstGeom prst="rect">
            <a:avLst/>
          </a:prstGeom>
          <a:noFill/>
        </p:spPr>
        <p:txBody>
          <a:bodyPr wrap="square" rtlCol="0">
            <a:spAutoFit/>
          </a:bodyPr>
          <a:lstStyle/>
          <a:p>
            <a:pPr algn="ctr"/>
            <a:r>
              <a:rPr lang="en-US" sz="11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Product</a:t>
            </a:r>
          </a:p>
          <a:p>
            <a:pPr algn="ctr"/>
            <a:r>
              <a:rPr lang="en-US" sz="11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Version 4</a:t>
            </a:r>
            <a:endParaRPr lang="en-IN" sz="1100" b="1" dirty="0" err="1">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TextBox 53">
            <a:extLst>
              <a:ext uri="{FF2B5EF4-FFF2-40B4-BE49-F238E27FC236}">
                <a16:creationId xmlns:a16="http://schemas.microsoft.com/office/drawing/2014/main" id="{20C11804-D498-42B1-97ED-4BFE1530150B}"/>
              </a:ext>
            </a:extLst>
          </p:cNvPr>
          <p:cNvSpPr txBox="1"/>
          <p:nvPr/>
        </p:nvSpPr>
        <p:spPr>
          <a:xfrm>
            <a:off x="21270" y="4506198"/>
            <a:ext cx="914393" cy="600164"/>
          </a:xfrm>
          <a:prstGeom prst="rect">
            <a:avLst/>
          </a:prstGeom>
          <a:noFill/>
        </p:spPr>
        <p:txBody>
          <a:bodyPr wrap="square" rtlCol="0">
            <a:spAutoFit/>
          </a:bodyPr>
          <a:lstStyle/>
          <a:p>
            <a:pPr algn="ctr"/>
            <a:r>
              <a:rPr lang="en-US" sz="11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Product</a:t>
            </a:r>
          </a:p>
          <a:p>
            <a:pPr algn="ctr"/>
            <a:r>
              <a:rPr lang="en-US" sz="1100" b="1"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Version 3</a:t>
            </a:r>
            <a:endParaRPr lang="en-IN" sz="1100" b="1" dirty="0" err="1">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5" name="Callout: Double Bent Line with Border and Accent Bar 54">
            <a:extLst>
              <a:ext uri="{FF2B5EF4-FFF2-40B4-BE49-F238E27FC236}">
                <a16:creationId xmlns:a16="http://schemas.microsoft.com/office/drawing/2014/main" id="{11C0B89C-9BEE-41B7-9387-41C38D31021C}"/>
              </a:ext>
            </a:extLst>
          </p:cNvPr>
          <p:cNvSpPr/>
          <p:nvPr/>
        </p:nvSpPr>
        <p:spPr bwMode="auto">
          <a:xfrm>
            <a:off x="6934198" y="1260387"/>
            <a:ext cx="1219200" cy="205341"/>
          </a:xfrm>
          <a:prstGeom prst="accentBorderCallout3">
            <a:avLst>
              <a:gd name="adj1" fmla="val 18750"/>
              <a:gd name="adj2" fmla="val -8333"/>
              <a:gd name="adj3" fmla="val 18750"/>
              <a:gd name="adj4" fmla="val -16667"/>
              <a:gd name="adj5" fmla="val 100000"/>
              <a:gd name="adj6" fmla="val -16667"/>
              <a:gd name="adj7" fmla="val 294193"/>
              <a:gd name="adj8" fmla="val 101551"/>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sz="1100" b="1" dirty="0">
                <a:latin typeface="Arial" charset="0"/>
                <a:cs typeface="Arial" charset="0"/>
              </a:rPr>
              <a:t>Iskraemeco</a:t>
            </a:r>
            <a:endParaRPr kumimoji="0" lang="en-IN" sz="1100" b="1" i="0" u="none" strike="noStrike" cap="none" normalizeH="0" baseline="0" dirty="0">
              <a:ln>
                <a:noFill/>
              </a:ln>
              <a:effectLst/>
              <a:latin typeface="Arial" charset="0"/>
              <a:cs typeface="Arial" charset="0"/>
            </a:endParaRPr>
          </a:p>
        </p:txBody>
      </p:sp>
      <p:sp>
        <p:nvSpPr>
          <p:cNvPr id="56" name="Callout: Double Bent Line with Border and Accent Bar 55">
            <a:extLst>
              <a:ext uri="{FF2B5EF4-FFF2-40B4-BE49-F238E27FC236}">
                <a16:creationId xmlns:a16="http://schemas.microsoft.com/office/drawing/2014/main" id="{A82CCA91-14D9-46EF-B3EF-3AE7D571D606}"/>
              </a:ext>
            </a:extLst>
          </p:cNvPr>
          <p:cNvSpPr/>
          <p:nvPr/>
        </p:nvSpPr>
        <p:spPr bwMode="auto">
          <a:xfrm>
            <a:off x="4780196" y="2491992"/>
            <a:ext cx="1687487" cy="190172"/>
          </a:xfrm>
          <a:prstGeom prst="accentBorderCallout3">
            <a:avLst>
              <a:gd name="adj1" fmla="val 18750"/>
              <a:gd name="adj2" fmla="val -8333"/>
              <a:gd name="adj3" fmla="val 18750"/>
              <a:gd name="adj4" fmla="val -16667"/>
              <a:gd name="adj5" fmla="val 100000"/>
              <a:gd name="adj6" fmla="val -16667"/>
              <a:gd name="adj7" fmla="val 294193"/>
              <a:gd name="adj8" fmla="val 101551"/>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100" b="1" i="0" u="none" strike="noStrike" cap="none" normalizeH="0" baseline="0" dirty="0">
                <a:ln>
                  <a:noFill/>
                </a:ln>
                <a:effectLst/>
                <a:latin typeface="Arial" charset="0"/>
                <a:cs typeface="Arial" charset="0"/>
              </a:rPr>
              <a:t>Eon/ Ellevio</a:t>
            </a:r>
            <a:endParaRPr kumimoji="0" lang="en-IN" sz="1100" b="1" i="0" u="none" strike="noStrike" cap="none" normalizeH="0" baseline="0" dirty="0">
              <a:ln>
                <a:noFill/>
              </a:ln>
              <a:effectLst/>
              <a:latin typeface="Arial" charset="0"/>
              <a:cs typeface="Arial" charset="0"/>
            </a:endParaRPr>
          </a:p>
        </p:txBody>
      </p:sp>
      <p:sp>
        <p:nvSpPr>
          <p:cNvPr id="57" name="Callout: Double Bent Line with Border and Accent Bar 56">
            <a:extLst>
              <a:ext uri="{FF2B5EF4-FFF2-40B4-BE49-F238E27FC236}">
                <a16:creationId xmlns:a16="http://schemas.microsoft.com/office/drawing/2014/main" id="{FA9A2BBA-2EAB-49E5-B449-067846DF42E2}"/>
              </a:ext>
            </a:extLst>
          </p:cNvPr>
          <p:cNvSpPr/>
          <p:nvPr/>
        </p:nvSpPr>
        <p:spPr bwMode="auto">
          <a:xfrm>
            <a:off x="7814477" y="4267804"/>
            <a:ext cx="1687487" cy="190172"/>
          </a:xfrm>
          <a:prstGeom prst="accentBorderCallout3">
            <a:avLst>
              <a:gd name="adj1" fmla="val 18750"/>
              <a:gd name="adj2" fmla="val -8333"/>
              <a:gd name="adj3" fmla="val 18750"/>
              <a:gd name="adj4" fmla="val -16667"/>
              <a:gd name="adj5" fmla="val 100000"/>
              <a:gd name="adj6" fmla="val -16667"/>
              <a:gd name="adj7" fmla="val 160008"/>
              <a:gd name="adj8" fmla="val -28246"/>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100" b="1" i="0" u="none" strike="noStrike" cap="none" normalizeH="0" baseline="0" dirty="0">
                <a:ln>
                  <a:noFill/>
                </a:ln>
                <a:effectLst/>
                <a:latin typeface="Arial" charset="0"/>
                <a:cs typeface="Arial" charset="0"/>
              </a:rPr>
              <a:t>Empower</a:t>
            </a:r>
            <a:endParaRPr kumimoji="0" lang="en-IN" sz="1100" b="1" i="0" u="none" strike="noStrike" cap="none" normalizeH="0" baseline="0" dirty="0">
              <a:ln>
                <a:noFill/>
              </a:ln>
              <a:effectLst/>
              <a:latin typeface="Arial" charset="0"/>
              <a:cs typeface="Arial" charset="0"/>
            </a:endParaRPr>
          </a:p>
        </p:txBody>
      </p:sp>
    </p:spTree>
    <p:extLst>
      <p:ext uri="{BB962C8B-B14F-4D97-AF65-F5344CB8AC3E}">
        <p14:creationId xmlns:p14="http://schemas.microsoft.com/office/powerpoint/2010/main" val="9872969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8961" name="think-cell Slide" r:id="rId5" imgW="360" imgH="360" progId="">
                  <p:embed/>
                </p:oleObj>
              </mc:Choice>
              <mc:Fallback>
                <p:oleObj name="think-cell Slide" r:id="rId5" imgW="360" imgH="360" progId="">
                  <p:embed/>
                  <p:pic>
                    <p:nvPicPr>
                      <p:cNvPr id="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Release Summary 3.10 – 3.22</a:t>
            </a:r>
          </a:p>
        </p:txBody>
      </p:sp>
      <p:grpSp>
        <p:nvGrpSpPr>
          <p:cNvPr id="13" name="Group 12"/>
          <p:cNvGrpSpPr/>
          <p:nvPr/>
        </p:nvGrpSpPr>
        <p:grpSpPr>
          <a:xfrm>
            <a:off x="476682" y="1461150"/>
            <a:ext cx="8906881" cy="4603984"/>
            <a:chOff x="447212" y="1802801"/>
            <a:chExt cx="9078348" cy="4692616"/>
          </a:xfrm>
        </p:grpSpPr>
        <p:sp>
          <p:nvSpPr>
            <p:cNvPr id="24" name="Rectangle 23"/>
            <p:cNvSpPr/>
            <p:nvPr/>
          </p:nvSpPr>
          <p:spPr bwMode="auto">
            <a:xfrm>
              <a:off x="8650341" y="2255196"/>
              <a:ext cx="875219" cy="140826"/>
            </a:xfrm>
            <a:prstGeom prst="rect">
              <a:avLst/>
            </a:prstGeom>
            <a:solidFill>
              <a:schemeClr val="bg1">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R="0" indent="0" fontAlgn="base">
                <a:lnSpc>
                  <a:spcPct val="85000"/>
                </a:lnSpc>
                <a:spcBef>
                  <a:spcPct val="0"/>
                </a:spcBef>
                <a:spcAft>
                  <a:spcPct val="0"/>
                </a:spcAft>
                <a:buClrTx/>
                <a:buSzTx/>
                <a:buFontTx/>
                <a:buNone/>
                <a:tabLst/>
              </a:pPr>
              <a:endParaRPr lang="en-US" dirty="0"/>
            </a:p>
          </p:txBody>
        </p:sp>
        <p:sp>
          <p:nvSpPr>
            <p:cNvPr id="14" name="Freeform 12"/>
            <p:cNvSpPr>
              <a:spLocks/>
            </p:cNvSpPr>
            <p:nvPr/>
          </p:nvSpPr>
          <p:spPr bwMode="auto">
            <a:xfrm>
              <a:off x="447213" y="1802801"/>
              <a:ext cx="3922712" cy="420479"/>
            </a:xfrm>
            <a:custGeom>
              <a:avLst/>
              <a:gdLst/>
              <a:ahLst/>
              <a:cxnLst>
                <a:cxn ang="0">
                  <a:pos x="9198" y="174"/>
                </a:cxn>
                <a:cxn ang="0">
                  <a:pos x="9188" y="174"/>
                </a:cxn>
                <a:cxn ang="0">
                  <a:pos x="8957" y="0"/>
                </a:cxn>
                <a:cxn ang="0">
                  <a:pos x="240" y="0"/>
                </a:cxn>
                <a:cxn ang="0">
                  <a:pos x="0" y="241"/>
                </a:cxn>
                <a:cxn ang="0">
                  <a:pos x="0" y="1042"/>
                </a:cxn>
                <a:cxn ang="0">
                  <a:pos x="6767" y="1042"/>
                </a:cxn>
                <a:cxn ang="0">
                  <a:pos x="8957" y="1042"/>
                </a:cxn>
                <a:cxn ang="0">
                  <a:pos x="9719" y="1042"/>
                </a:cxn>
                <a:cxn ang="0">
                  <a:pos x="9198" y="174"/>
                </a:cxn>
              </a:cxnLst>
              <a:rect l="0" t="0" r="r" b="b"/>
              <a:pathLst>
                <a:path w="9719" h="1042">
                  <a:moveTo>
                    <a:pt x="9198" y="174"/>
                  </a:moveTo>
                  <a:cubicBezTo>
                    <a:pt x="9188" y="174"/>
                    <a:pt x="9188" y="174"/>
                    <a:pt x="9188" y="174"/>
                  </a:cubicBezTo>
                  <a:cubicBezTo>
                    <a:pt x="9159" y="74"/>
                    <a:pt x="9066" y="0"/>
                    <a:pt x="8957" y="0"/>
                  </a:cubicBezTo>
                  <a:cubicBezTo>
                    <a:pt x="240" y="0"/>
                    <a:pt x="240" y="0"/>
                    <a:pt x="240" y="0"/>
                  </a:cubicBezTo>
                  <a:cubicBezTo>
                    <a:pt x="108" y="0"/>
                    <a:pt x="0" y="108"/>
                    <a:pt x="0" y="241"/>
                  </a:cubicBezTo>
                  <a:cubicBezTo>
                    <a:pt x="0" y="1042"/>
                    <a:pt x="0" y="1042"/>
                    <a:pt x="0" y="1042"/>
                  </a:cubicBezTo>
                  <a:cubicBezTo>
                    <a:pt x="6767" y="1042"/>
                    <a:pt x="6767" y="1042"/>
                    <a:pt x="6767" y="1042"/>
                  </a:cubicBezTo>
                  <a:cubicBezTo>
                    <a:pt x="8957" y="1042"/>
                    <a:pt x="8957" y="1042"/>
                    <a:pt x="8957" y="1042"/>
                  </a:cubicBezTo>
                  <a:cubicBezTo>
                    <a:pt x="9719" y="1042"/>
                    <a:pt x="9719" y="1042"/>
                    <a:pt x="9719" y="1042"/>
                  </a:cubicBezTo>
                  <a:lnTo>
                    <a:pt x="9198" y="174"/>
                  </a:lnTo>
                  <a:close/>
                </a:path>
              </a:pathLst>
            </a:custGeom>
            <a:solidFill>
              <a:schemeClr val="bg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Rectangle 14"/>
            <p:cNvSpPr/>
            <p:nvPr/>
          </p:nvSpPr>
          <p:spPr bwMode="auto">
            <a:xfrm>
              <a:off x="4114800" y="2179320"/>
              <a:ext cx="4876800" cy="140826"/>
            </a:xfrm>
            <a:prstGeom prst="rect">
              <a:avLst/>
            </a:prstGeom>
            <a:solidFill>
              <a:schemeClr val="bg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R="0" indent="0" fontAlgn="base">
                <a:lnSpc>
                  <a:spcPct val="85000"/>
                </a:lnSpc>
                <a:spcBef>
                  <a:spcPct val="0"/>
                </a:spcBef>
                <a:spcAft>
                  <a:spcPct val="0"/>
                </a:spcAft>
                <a:buClrTx/>
                <a:buSzTx/>
                <a:buFontTx/>
                <a:buNone/>
                <a:tabLst/>
              </a:pPr>
              <a:endParaRPr lang="en-US" dirty="0"/>
            </a:p>
          </p:txBody>
        </p:sp>
        <p:grpSp>
          <p:nvGrpSpPr>
            <p:cNvPr id="16" name="Group 94"/>
            <p:cNvGrpSpPr/>
            <p:nvPr/>
          </p:nvGrpSpPr>
          <p:grpSpPr>
            <a:xfrm>
              <a:off x="447212" y="1897906"/>
              <a:ext cx="9077793" cy="4597511"/>
              <a:chOff x="344488" y="1897906"/>
              <a:chExt cx="9180518" cy="4597511"/>
            </a:xfrm>
          </p:grpSpPr>
          <p:sp>
            <p:nvSpPr>
              <p:cNvPr id="17" name="Freeform 12"/>
              <p:cNvSpPr>
                <a:spLocks/>
              </p:cNvSpPr>
              <p:nvPr/>
            </p:nvSpPr>
            <p:spPr bwMode="auto">
              <a:xfrm>
                <a:off x="344488" y="2300326"/>
                <a:ext cx="9180518" cy="4195091"/>
              </a:xfrm>
              <a:prstGeom prst="round2SameRect">
                <a:avLst>
                  <a:gd name="adj1" fmla="val 0"/>
                  <a:gd name="adj2" fmla="val 3972"/>
                </a:avLst>
              </a:pr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2"/>
              <p:cNvSpPr>
                <a:spLocks/>
              </p:cNvSpPr>
              <p:nvPr/>
            </p:nvSpPr>
            <p:spPr bwMode="auto">
              <a:xfrm>
                <a:off x="344488" y="1897906"/>
                <a:ext cx="3922712" cy="420479"/>
              </a:xfrm>
              <a:custGeom>
                <a:avLst/>
                <a:gdLst/>
                <a:ahLst/>
                <a:cxnLst>
                  <a:cxn ang="0">
                    <a:pos x="9198" y="174"/>
                  </a:cxn>
                  <a:cxn ang="0">
                    <a:pos x="9188" y="174"/>
                  </a:cxn>
                  <a:cxn ang="0">
                    <a:pos x="8957" y="0"/>
                  </a:cxn>
                  <a:cxn ang="0">
                    <a:pos x="240" y="0"/>
                  </a:cxn>
                  <a:cxn ang="0">
                    <a:pos x="0" y="241"/>
                  </a:cxn>
                  <a:cxn ang="0">
                    <a:pos x="0" y="1042"/>
                  </a:cxn>
                  <a:cxn ang="0">
                    <a:pos x="6767" y="1042"/>
                  </a:cxn>
                  <a:cxn ang="0">
                    <a:pos x="8957" y="1042"/>
                  </a:cxn>
                  <a:cxn ang="0">
                    <a:pos x="9719" y="1042"/>
                  </a:cxn>
                  <a:cxn ang="0">
                    <a:pos x="9198" y="174"/>
                  </a:cxn>
                </a:cxnLst>
                <a:rect l="0" t="0" r="r" b="b"/>
                <a:pathLst>
                  <a:path w="9719" h="1042">
                    <a:moveTo>
                      <a:pt x="9198" y="174"/>
                    </a:moveTo>
                    <a:cubicBezTo>
                      <a:pt x="9188" y="174"/>
                      <a:pt x="9188" y="174"/>
                      <a:pt x="9188" y="174"/>
                    </a:cubicBezTo>
                    <a:cubicBezTo>
                      <a:pt x="9159" y="74"/>
                      <a:pt x="9066" y="0"/>
                      <a:pt x="8957" y="0"/>
                    </a:cubicBezTo>
                    <a:cubicBezTo>
                      <a:pt x="240" y="0"/>
                      <a:pt x="240" y="0"/>
                      <a:pt x="240" y="0"/>
                    </a:cubicBezTo>
                    <a:cubicBezTo>
                      <a:pt x="108" y="0"/>
                      <a:pt x="0" y="108"/>
                      <a:pt x="0" y="241"/>
                    </a:cubicBezTo>
                    <a:cubicBezTo>
                      <a:pt x="0" y="1042"/>
                      <a:pt x="0" y="1042"/>
                      <a:pt x="0" y="1042"/>
                    </a:cubicBezTo>
                    <a:cubicBezTo>
                      <a:pt x="6767" y="1042"/>
                      <a:pt x="6767" y="1042"/>
                      <a:pt x="6767" y="1042"/>
                    </a:cubicBezTo>
                    <a:cubicBezTo>
                      <a:pt x="8957" y="1042"/>
                      <a:pt x="8957" y="1042"/>
                      <a:pt x="8957" y="1042"/>
                    </a:cubicBezTo>
                    <a:cubicBezTo>
                      <a:pt x="9719" y="1042"/>
                      <a:pt x="9719" y="1042"/>
                      <a:pt x="9719" y="1042"/>
                    </a:cubicBezTo>
                    <a:lnTo>
                      <a:pt x="9198" y="174"/>
                    </a:lnTo>
                    <a:close/>
                  </a:path>
                </a:pathLst>
              </a:cu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9" name="Freeform 12"/>
          <p:cNvSpPr>
            <a:spLocks/>
          </p:cNvSpPr>
          <p:nvPr/>
        </p:nvSpPr>
        <p:spPr bwMode="auto">
          <a:xfrm>
            <a:off x="1676400" y="2049124"/>
            <a:ext cx="7538114" cy="598826"/>
          </a:xfrm>
          <a:prstGeom prst="roundRect">
            <a:avLst/>
          </a:prstGeom>
          <a:solidFill>
            <a:schemeClr val="accent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20" name="Table 19"/>
          <p:cNvGraphicFramePr>
            <a:graphicFrameLocks noGrp="1"/>
          </p:cNvGraphicFramePr>
          <p:nvPr>
            <p:extLst>
              <p:ext uri="{D42A27DB-BD31-4B8C-83A1-F6EECF244321}">
                <p14:modId xmlns:p14="http://schemas.microsoft.com/office/powerpoint/2010/main" val="4285445109"/>
              </p:ext>
            </p:extLst>
          </p:nvPr>
        </p:nvGraphicFramePr>
        <p:xfrm>
          <a:off x="645188" y="2022455"/>
          <a:ext cx="8569324" cy="3659632"/>
        </p:xfrm>
        <a:graphic>
          <a:graphicData uri="http://schemas.openxmlformats.org/drawingml/2006/table">
            <a:tbl>
              <a:tblPr firstRow="1" bandRow="1">
                <a:tableStyleId>{C083E6E3-FA7D-4D7B-A595-EF9225AFEA82}</a:tableStyleId>
              </a:tblPr>
              <a:tblGrid>
                <a:gridCol w="1107412">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2514600">
                  <a:extLst>
                    <a:ext uri="{9D8B030D-6E8A-4147-A177-3AD203B41FA5}">
                      <a16:colId xmlns:a16="http://schemas.microsoft.com/office/drawing/2014/main" val="20002"/>
                    </a:ext>
                  </a:extLst>
                </a:gridCol>
                <a:gridCol w="2889912">
                  <a:extLst>
                    <a:ext uri="{9D8B030D-6E8A-4147-A177-3AD203B41FA5}">
                      <a16:colId xmlns:a16="http://schemas.microsoft.com/office/drawing/2014/main" val="20003"/>
                    </a:ext>
                  </a:extLst>
                </a:gridCol>
              </a:tblGrid>
              <a:tr h="0">
                <a:tc>
                  <a:txBody>
                    <a:bodyPr/>
                    <a:lstStyle/>
                    <a:p>
                      <a:pPr algn="l">
                        <a:spcAft>
                          <a:spcPts val="200"/>
                        </a:spcAft>
                      </a:pPr>
                      <a:endParaRPr lang="en-US" sz="1400" b="1"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endParaRPr>
                    </a:p>
                  </a:txBody>
                  <a:tcPr marL="45720" marR="45720"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pPr marL="0" marR="0" indent="0" algn="l" defTabSz="914342" rtl="0" eaLnBrk="1" fontAlgn="auto" latinLnBrk="0" hangingPunct="1">
                        <a:lnSpc>
                          <a:spcPct val="100000"/>
                        </a:lnSpc>
                        <a:spcBef>
                          <a:spcPts val="0"/>
                        </a:spcBef>
                        <a:spcAft>
                          <a:spcPts val="200"/>
                        </a:spcAft>
                        <a:buClrTx/>
                        <a:buSzTx/>
                        <a:buFontTx/>
                        <a:buNone/>
                        <a:tabLst/>
                        <a:defRPr/>
                      </a:pPr>
                      <a:r>
                        <a:rPr lang="en-US" sz="1400" b="1" i="0" kern="12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3.10"</a:t>
                      </a:r>
                      <a:br>
                        <a:rPr lang="en-US" sz="1400" b="1" i="0" kern="12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br>
                      <a:r>
                        <a:rPr lang="en-US" sz="1400" b="1" i="0" kern="12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2010)</a:t>
                      </a:r>
                    </a:p>
                  </a:txBody>
                  <a:tcPr marL="45720" marR="45720" marT="91440" marB="91440">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200"/>
                        </a:spcAft>
                      </a:pPr>
                      <a:r>
                        <a:rPr lang="en-US" sz="14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3.14-3.18"</a:t>
                      </a:r>
                      <a:br>
                        <a:rPr lang="en-US" sz="14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2011-2014)</a:t>
                      </a:r>
                    </a:p>
                  </a:txBody>
                  <a:tcPr marL="45720" marR="45720" marT="91440" marB="91440">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342" rtl="0" eaLnBrk="1" fontAlgn="auto" latinLnBrk="0" hangingPunct="1">
                        <a:lnSpc>
                          <a:spcPct val="100000"/>
                        </a:lnSpc>
                        <a:spcBef>
                          <a:spcPts val="0"/>
                        </a:spcBef>
                        <a:spcAft>
                          <a:spcPts val="200"/>
                        </a:spcAft>
                        <a:buClrTx/>
                        <a:buSzTx/>
                        <a:buFontTx/>
                        <a:buNone/>
                        <a:tabLst/>
                        <a:defRPr/>
                      </a:pPr>
                      <a:r>
                        <a:rPr lang="en-US" sz="14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3.20-3.25"</a:t>
                      </a:r>
                      <a:br>
                        <a:rPr lang="en-US" sz="14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2015-2016)</a:t>
                      </a:r>
                    </a:p>
                  </a:txBody>
                  <a:tcPr marL="45720" marR="45720" marT="91440" marB="91440">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algn="l" fontAlgn="b">
                        <a:spcAft>
                          <a:spcPts val="200"/>
                        </a:spcAft>
                      </a:pPr>
                      <a:r>
                        <a:rPr lang="en-US" sz="1100" b="1"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New Features</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Time reservation capability for field technicians</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indent="-228600" algn="l" defTabSz="914342" rtl="0" eaLnBrk="1" fontAlgn="b" latinLnBrk="0" hangingPunct="1">
                        <a:lnSpc>
                          <a:spcPct val="100000"/>
                        </a:lnSpc>
                        <a:spcBef>
                          <a:spcPts val="0"/>
                        </a:spcBef>
                        <a:spcAft>
                          <a:spcPts val="200"/>
                        </a:spcAft>
                        <a:buClr>
                          <a:schemeClr val="bg1"/>
                        </a:buClr>
                        <a:buSzTx/>
                        <a:buFont typeface="Wingdings" pitchFamily="2" charset="2"/>
                        <a:buChar char="§"/>
                        <a:tabLst/>
                        <a:defRP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Material &amp; Logistics module</a:t>
                      </a:r>
                    </a:p>
                    <a:p>
                      <a:pPr marL="228600" marR="0" indent="-228600" algn="l" defTabSz="914342" rtl="0" eaLnBrk="1" fontAlgn="b" latinLnBrk="0" hangingPunct="1">
                        <a:lnSpc>
                          <a:spcPct val="100000"/>
                        </a:lnSpc>
                        <a:spcBef>
                          <a:spcPts val="0"/>
                        </a:spcBef>
                        <a:spcAft>
                          <a:spcPts val="200"/>
                        </a:spcAft>
                        <a:buClr>
                          <a:schemeClr val="bg1"/>
                        </a:buClr>
                        <a:buSzTx/>
                        <a:buFont typeface="Wingdings" pitchFamily="2" charset="2"/>
                        <a:buChar char="§"/>
                        <a:tabLst/>
                        <a:defRP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Implementation of an open source web reporting platform.</a:t>
                      </a:r>
                    </a:p>
                    <a:p>
                      <a:pPr marL="228600" marR="0" indent="-228600" algn="l" defTabSz="914342" rtl="0" eaLnBrk="1" fontAlgn="b" latinLnBrk="0" hangingPunct="1">
                        <a:lnSpc>
                          <a:spcPct val="100000"/>
                        </a:lnSpc>
                        <a:spcBef>
                          <a:spcPts val="0"/>
                        </a:spcBef>
                        <a:spcAft>
                          <a:spcPts val="200"/>
                        </a:spcAft>
                        <a:buClr>
                          <a:schemeClr val="bg1"/>
                        </a:buClr>
                        <a:buSzTx/>
                        <a:buFont typeface="Wingdings" pitchFamily="2" charset="2"/>
                        <a:buChar char="§"/>
                        <a:tabLst/>
                        <a:defRP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Meter value delivery SLA</a:t>
                      </a:r>
                    </a:p>
                    <a:p>
                      <a:pPr marL="228600" marR="0" indent="-228600" algn="l" defTabSz="914342" rtl="0" eaLnBrk="1" fontAlgn="b" latinLnBrk="0" hangingPunct="1">
                        <a:lnSpc>
                          <a:spcPct val="100000"/>
                        </a:lnSpc>
                        <a:spcBef>
                          <a:spcPts val="0"/>
                        </a:spcBef>
                        <a:spcAft>
                          <a:spcPts val="200"/>
                        </a:spcAft>
                        <a:buClr>
                          <a:schemeClr val="bg1"/>
                        </a:buClr>
                        <a:buSzTx/>
                        <a:buFont typeface="Wingdings" pitchFamily="2" charset="2"/>
                        <a:buChar char="§"/>
                        <a:tabLst/>
                        <a:defRP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IEC standards for meter values and events export.</a:t>
                      </a:r>
                    </a:p>
                    <a:p>
                      <a:pPr marL="228600" marR="0" lvl="0" indent="-228600" algn="l" defTabSz="914342" rtl="0" eaLnBrk="1" fontAlgn="b" latinLnBrk="0" hangingPunct="1">
                        <a:lnSpc>
                          <a:spcPct val="100000"/>
                        </a:lnSpc>
                        <a:spcBef>
                          <a:spcPts val="0"/>
                        </a:spcBef>
                        <a:spcAft>
                          <a:spcPts val="200"/>
                        </a:spcAft>
                        <a:buClr>
                          <a:schemeClr val="bg1"/>
                        </a:buClr>
                        <a:buSzTx/>
                        <a:buFont typeface="Wingdings" pitchFamily="2" charset="2"/>
                        <a:buChar char="§"/>
                        <a:tabLst/>
                        <a:defRP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Cache management</a:t>
                      </a:r>
                    </a:p>
                    <a:p>
                      <a:pPr marL="228600" marR="0" indent="-228600" algn="l" defTabSz="914342" rtl="0" eaLnBrk="1" fontAlgn="b" latinLnBrk="0" hangingPunct="1">
                        <a:lnSpc>
                          <a:spcPct val="100000"/>
                        </a:lnSpc>
                        <a:spcBef>
                          <a:spcPts val="0"/>
                        </a:spcBef>
                        <a:spcAft>
                          <a:spcPts val="200"/>
                        </a:spcAft>
                        <a:buClr>
                          <a:schemeClr val="bg1"/>
                        </a:buClr>
                        <a:buSzTx/>
                        <a:buFont typeface="Wingdings" pitchFamily="2" charset="2"/>
                        <a:buChar char="§"/>
                        <a:tabLst/>
                        <a:defRPr/>
                      </a:pPr>
                      <a:endPar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endParaRP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Additional Web portal reports for workorders and field efficiency.</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Open street map server integration with Geofabrik tiles.</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Manage and edit units in HES through SESP</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algn="l" fontAlgn="b">
                        <a:spcAft>
                          <a:spcPts val="200"/>
                        </a:spcAft>
                      </a:pPr>
                      <a:r>
                        <a:rPr lang="en-US" sz="1100" b="1"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Enhancements</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Search options for collection and delivery search parameters</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Collection and delivery tab addition to view meter data value</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UI improvements in model/unit views</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Co-ordinate details for stock sites</a:t>
                      </a:r>
                    </a:p>
                    <a:p>
                      <a:pPr marL="228600" marR="0" lvl="0" indent="-228600" algn="l" defTabSz="914342" rtl="0" eaLnBrk="1" fontAlgn="b" latinLnBrk="0" hangingPunct="1">
                        <a:lnSpc>
                          <a:spcPct val="100000"/>
                        </a:lnSpc>
                        <a:spcBef>
                          <a:spcPts val="0"/>
                        </a:spcBef>
                        <a:spcAft>
                          <a:spcPts val="200"/>
                        </a:spcAft>
                        <a:buClr>
                          <a:schemeClr val="bg1"/>
                        </a:buClr>
                        <a:buSzTx/>
                        <a:buFont typeface="Wingdings" pitchFamily="2" charset="2"/>
                        <a:buChar char="§"/>
                        <a:tabLst/>
                        <a:defRP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UI enhancements collection and delivery window</a:t>
                      </a:r>
                    </a:p>
                    <a:p>
                      <a:pPr marL="0" indent="0" algn="l" fontAlgn="b">
                        <a:spcAft>
                          <a:spcPts val="200"/>
                        </a:spcAft>
                        <a:buClr>
                          <a:schemeClr val="bg1"/>
                        </a:buClr>
                        <a:buFont typeface="Wingdings" pitchFamily="2" charset="2"/>
                        <a:buNone/>
                      </a:pPr>
                      <a:endPar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endParaRP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SLA calculation for Collection/Delivery</a:t>
                      </a:r>
                      <a:b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b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UI enhancements</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View and edit Installation Details</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View and edit Electricity Details</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PDA support for X8 Device</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a:txBody>
                    <a:bodyPr/>
                    <a:lstStyle/>
                    <a:p>
                      <a:pPr algn="l" fontAlgn="b">
                        <a:spcAft>
                          <a:spcPts val="200"/>
                        </a:spcAft>
                      </a:pPr>
                      <a:r>
                        <a:rPr lang="en-US" sz="1100" b="1"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Bug Fixes</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42" rtl="0" eaLnBrk="1" fontAlgn="b" latinLnBrk="0" hangingPunct="1">
                        <a:lnSpc>
                          <a:spcPct val="100000"/>
                        </a:lnSpc>
                        <a:spcBef>
                          <a:spcPts val="0"/>
                        </a:spcBef>
                        <a:spcAft>
                          <a:spcPts val="200"/>
                        </a:spcAft>
                        <a:buClrTx/>
                        <a:buSzTx/>
                        <a:buFontTx/>
                        <a:buNone/>
                        <a:tabLst/>
                        <a:defRPr/>
                      </a:pPr>
                      <a:r>
                        <a:rPr lang="en-US" sz="1100" b="0" i="0" u="none" strike="noStrike" kern="12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Bugs reported by clients</a:t>
                      </a:r>
                      <a:endPar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endParaRP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42" rtl="0" eaLnBrk="1" fontAlgn="b" latinLnBrk="0" hangingPunct="1">
                        <a:lnSpc>
                          <a:spcPct val="100000"/>
                        </a:lnSpc>
                        <a:spcBef>
                          <a:spcPts val="0"/>
                        </a:spcBef>
                        <a:spcAft>
                          <a:spcPts val="200"/>
                        </a:spcAft>
                        <a:buClrTx/>
                        <a:buSzTx/>
                        <a:buFontTx/>
                        <a:buNone/>
                        <a:tabLst/>
                        <a:defRPr/>
                      </a:pPr>
                      <a:r>
                        <a:rPr lang="en-US" sz="1100" b="0" i="0" u="none" strike="noStrike" kern="12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Bugs reported by clients</a:t>
                      </a:r>
                      <a:endPar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endParaRP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342" rtl="0" eaLnBrk="1" fontAlgn="b" latinLnBrk="0" hangingPunct="1">
                        <a:spcAft>
                          <a:spcPts val="200"/>
                        </a:spcAft>
                        <a:buClr>
                          <a:schemeClr val="bg1"/>
                        </a:buClr>
                        <a:buFont typeface="Wingdings" pitchFamily="2" charset="2"/>
                        <a:buNone/>
                      </a:pPr>
                      <a:r>
                        <a:rPr lang="en-US" sz="1100" b="0" i="0" u="none" strike="noStrike" kern="12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Bugs reported by clients</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21" name="Freeform 7"/>
          <p:cNvSpPr>
            <a:spLocks/>
          </p:cNvSpPr>
          <p:nvPr/>
        </p:nvSpPr>
        <p:spPr bwMode="auto">
          <a:xfrm>
            <a:off x="395495" y="1366775"/>
            <a:ext cx="9068710" cy="4805477"/>
          </a:xfrm>
          <a:custGeom>
            <a:avLst/>
            <a:gdLst>
              <a:gd name="connsiteX0" fmla="*/ 992 w 10000"/>
              <a:gd name="connsiteY0" fmla="*/ 10939 h 10939"/>
              <a:gd name="connsiteX1" fmla="*/ 316 w 10000"/>
              <a:gd name="connsiteY1" fmla="*/ 8168 h 10939"/>
              <a:gd name="connsiteX2" fmla="*/ 0 w 10000"/>
              <a:gd name="connsiteY2" fmla="*/ 7460 h 10939"/>
              <a:gd name="connsiteX3" fmla="*/ 0 w 10000"/>
              <a:gd name="connsiteY3" fmla="*/ 467 h 10939"/>
              <a:gd name="connsiteX4" fmla="*/ 208 w 10000"/>
              <a:gd name="connsiteY4" fmla="*/ 0 h 10939"/>
              <a:gd name="connsiteX5" fmla="*/ 4006 w 10000"/>
              <a:gd name="connsiteY5" fmla="*/ 0 h 10939"/>
              <a:gd name="connsiteX6" fmla="*/ 4165 w 10000"/>
              <a:gd name="connsiteY6" fmla="*/ 167 h 10939"/>
              <a:gd name="connsiteX7" fmla="*/ 4168 w 10000"/>
              <a:gd name="connsiteY7" fmla="*/ 167 h 10939"/>
              <a:gd name="connsiteX8" fmla="*/ 4371 w 10000"/>
              <a:gd name="connsiteY8" fmla="*/ 922 h 10939"/>
              <a:gd name="connsiteX9" fmla="*/ 9424 w 10000"/>
              <a:gd name="connsiteY9" fmla="*/ 922 h 10939"/>
              <a:gd name="connsiteX10" fmla="*/ 9424 w 10000"/>
              <a:gd name="connsiteY10" fmla="*/ 1221 h 10939"/>
              <a:gd name="connsiteX11" fmla="*/ 10000 w 10000"/>
              <a:gd name="connsiteY11" fmla="*/ 1221 h 10939"/>
              <a:gd name="connsiteX12" fmla="*/ 10000 w 10000"/>
              <a:gd name="connsiteY12" fmla="*/ 10000 h 10939"/>
              <a:gd name="connsiteX0" fmla="*/ 992 w 10000"/>
              <a:gd name="connsiteY0" fmla="*/ 10939 h 10939"/>
              <a:gd name="connsiteX1" fmla="*/ 275 w 10000"/>
              <a:gd name="connsiteY1" fmla="*/ 10939 h 10939"/>
              <a:gd name="connsiteX2" fmla="*/ 0 w 10000"/>
              <a:gd name="connsiteY2" fmla="*/ 7460 h 10939"/>
              <a:gd name="connsiteX3" fmla="*/ 0 w 10000"/>
              <a:gd name="connsiteY3" fmla="*/ 467 h 10939"/>
              <a:gd name="connsiteX4" fmla="*/ 208 w 10000"/>
              <a:gd name="connsiteY4" fmla="*/ 0 h 10939"/>
              <a:gd name="connsiteX5" fmla="*/ 4006 w 10000"/>
              <a:gd name="connsiteY5" fmla="*/ 0 h 10939"/>
              <a:gd name="connsiteX6" fmla="*/ 4165 w 10000"/>
              <a:gd name="connsiteY6" fmla="*/ 167 h 10939"/>
              <a:gd name="connsiteX7" fmla="*/ 4168 w 10000"/>
              <a:gd name="connsiteY7" fmla="*/ 167 h 10939"/>
              <a:gd name="connsiteX8" fmla="*/ 4371 w 10000"/>
              <a:gd name="connsiteY8" fmla="*/ 922 h 10939"/>
              <a:gd name="connsiteX9" fmla="*/ 9424 w 10000"/>
              <a:gd name="connsiteY9" fmla="*/ 922 h 10939"/>
              <a:gd name="connsiteX10" fmla="*/ 9424 w 10000"/>
              <a:gd name="connsiteY10" fmla="*/ 1221 h 10939"/>
              <a:gd name="connsiteX11" fmla="*/ 10000 w 10000"/>
              <a:gd name="connsiteY11" fmla="*/ 1221 h 10939"/>
              <a:gd name="connsiteX12" fmla="*/ 10000 w 10000"/>
              <a:gd name="connsiteY12" fmla="*/ 10000 h 10939"/>
              <a:gd name="connsiteX0" fmla="*/ 992 w 10000"/>
              <a:gd name="connsiteY0" fmla="*/ 10939 h 10939"/>
              <a:gd name="connsiteX1" fmla="*/ 275 w 10000"/>
              <a:gd name="connsiteY1" fmla="*/ 10939 h 10939"/>
              <a:gd name="connsiteX2" fmla="*/ 0 w 10000"/>
              <a:gd name="connsiteY2" fmla="*/ 10481 h 10939"/>
              <a:gd name="connsiteX3" fmla="*/ 0 w 10000"/>
              <a:gd name="connsiteY3" fmla="*/ 467 h 10939"/>
              <a:gd name="connsiteX4" fmla="*/ 208 w 10000"/>
              <a:gd name="connsiteY4" fmla="*/ 0 h 10939"/>
              <a:gd name="connsiteX5" fmla="*/ 4006 w 10000"/>
              <a:gd name="connsiteY5" fmla="*/ 0 h 10939"/>
              <a:gd name="connsiteX6" fmla="*/ 4165 w 10000"/>
              <a:gd name="connsiteY6" fmla="*/ 167 h 10939"/>
              <a:gd name="connsiteX7" fmla="*/ 4168 w 10000"/>
              <a:gd name="connsiteY7" fmla="*/ 167 h 10939"/>
              <a:gd name="connsiteX8" fmla="*/ 4371 w 10000"/>
              <a:gd name="connsiteY8" fmla="*/ 922 h 10939"/>
              <a:gd name="connsiteX9" fmla="*/ 9424 w 10000"/>
              <a:gd name="connsiteY9" fmla="*/ 922 h 10939"/>
              <a:gd name="connsiteX10" fmla="*/ 9424 w 10000"/>
              <a:gd name="connsiteY10" fmla="*/ 1221 h 10939"/>
              <a:gd name="connsiteX11" fmla="*/ 10000 w 10000"/>
              <a:gd name="connsiteY11" fmla="*/ 1221 h 10939"/>
              <a:gd name="connsiteX12" fmla="*/ 10000 w 10000"/>
              <a:gd name="connsiteY12" fmla="*/ 10000 h 10939"/>
              <a:gd name="connsiteX0" fmla="*/ 992 w 10000"/>
              <a:gd name="connsiteY0" fmla="*/ 11881 h 11881"/>
              <a:gd name="connsiteX1" fmla="*/ 275 w 10000"/>
              <a:gd name="connsiteY1" fmla="*/ 10939 h 11881"/>
              <a:gd name="connsiteX2" fmla="*/ 0 w 10000"/>
              <a:gd name="connsiteY2" fmla="*/ 10481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9424 w 10000"/>
              <a:gd name="connsiteY10" fmla="*/ 1221 h 11881"/>
              <a:gd name="connsiteX11" fmla="*/ 10000 w 10000"/>
              <a:gd name="connsiteY11" fmla="*/ 1221 h 11881"/>
              <a:gd name="connsiteX12" fmla="*/ 10000 w 10000"/>
              <a:gd name="connsiteY12" fmla="*/ 10000 h 11881"/>
              <a:gd name="connsiteX0" fmla="*/ 992 w 10000"/>
              <a:gd name="connsiteY0" fmla="*/ 11881 h 11881"/>
              <a:gd name="connsiteX1" fmla="*/ 275 w 10000"/>
              <a:gd name="connsiteY1" fmla="*/ 11881 h 11881"/>
              <a:gd name="connsiteX2" fmla="*/ 0 w 10000"/>
              <a:gd name="connsiteY2" fmla="*/ 10481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9424 w 10000"/>
              <a:gd name="connsiteY10" fmla="*/ 1221 h 11881"/>
              <a:gd name="connsiteX11" fmla="*/ 10000 w 10000"/>
              <a:gd name="connsiteY11" fmla="*/ 1221 h 11881"/>
              <a:gd name="connsiteX12" fmla="*/ 10000 w 10000"/>
              <a:gd name="connsiteY12"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9424 w 10000"/>
              <a:gd name="connsiteY10" fmla="*/ 1221 h 11881"/>
              <a:gd name="connsiteX11" fmla="*/ 10000 w 10000"/>
              <a:gd name="connsiteY11" fmla="*/ 1221 h 11881"/>
              <a:gd name="connsiteX12" fmla="*/ 10000 w 10000"/>
              <a:gd name="connsiteY12"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10000 w 10000"/>
              <a:gd name="connsiteY10" fmla="*/ 1221 h 11881"/>
              <a:gd name="connsiteX11" fmla="*/ 10000 w 10000"/>
              <a:gd name="connsiteY11"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221 h 11881"/>
              <a:gd name="connsiteX11" fmla="*/ 10000 w 10000"/>
              <a:gd name="connsiteY11"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0000 h 11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1881">
                <a:moveTo>
                  <a:pt x="992" y="11881"/>
                </a:moveTo>
                <a:lnTo>
                  <a:pt x="275" y="11881"/>
                </a:lnTo>
                <a:cubicBezTo>
                  <a:pt x="100" y="11881"/>
                  <a:pt x="0" y="11826"/>
                  <a:pt x="0" y="11435"/>
                </a:cubicBezTo>
                <a:lnTo>
                  <a:pt x="0" y="467"/>
                </a:lnTo>
                <a:cubicBezTo>
                  <a:pt x="0" y="207"/>
                  <a:pt x="92" y="0"/>
                  <a:pt x="208" y="0"/>
                </a:cubicBezTo>
                <a:lnTo>
                  <a:pt x="4006" y="0"/>
                </a:lnTo>
                <a:cubicBezTo>
                  <a:pt x="4067" y="0"/>
                  <a:pt x="4126" y="63"/>
                  <a:pt x="4165" y="167"/>
                </a:cubicBezTo>
                <a:lnTo>
                  <a:pt x="4168" y="167"/>
                </a:lnTo>
                <a:cubicBezTo>
                  <a:pt x="4236" y="419"/>
                  <a:pt x="4303" y="670"/>
                  <a:pt x="4371" y="922"/>
                </a:cubicBezTo>
                <a:lnTo>
                  <a:pt x="10000" y="919"/>
                </a:lnTo>
                <a:lnTo>
                  <a:pt x="10000" y="10000"/>
                </a:lnTo>
              </a:path>
            </a:pathLst>
          </a:custGeom>
          <a:noFill/>
          <a:ln w="9525" cap="flat">
            <a:solidFill>
              <a:schemeClr val="bg1">
                <a:lumMod val="65000"/>
              </a:schemeClr>
            </a:solidFill>
            <a:prstDash val="solid"/>
            <a:miter lim="800000"/>
            <a:headEnd type="diamond"/>
            <a:tailEnd type="diamond"/>
          </a:ln>
        </p:spPr>
        <p:txBody>
          <a:bodyPr vert="horz" wrap="square" lIns="91440" tIns="45720" rIns="91440" bIns="45720" numCol="1" anchor="t" anchorCtr="0" compatLnSpc="1">
            <a:prstTxWarp prst="textNoShape">
              <a:avLst/>
            </a:prstTxWarp>
          </a:bodyPr>
          <a:lstStyle/>
          <a:p>
            <a:endParaRPr lang="en-US"/>
          </a:p>
        </p:txBody>
      </p:sp>
    </p:spTree>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985" name="think-cell Slide" r:id="rId5" imgW="360" imgH="360" progId="">
                  <p:embed/>
                </p:oleObj>
              </mc:Choice>
              <mc:Fallback>
                <p:oleObj name="think-cell Slide" r:id="rId5" imgW="360" imgH="360" progId="">
                  <p:embed/>
                  <p:pic>
                    <p:nvPicPr>
                      <p:cNvPr id="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Release Summary 4.0 – 4.1</a:t>
            </a:r>
          </a:p>
        </p:txBody>
      </p:sp>
      <p:grpSp>
        <p:nvGrpSpPr>
          <p:cNvPr id="3" name="Group 12"/>
          <p:cNvGrpSpPr/>
          <p:nvPr/>
        </p:nvGrpSpPr>
        <p:grpSpPr>
          <a:xfrm>
            <a:off x="476682" y="1461150"/>
            <a:ext cx="8906881" cy="3415650"/>
            <a:chOff x="447212" y="1802801"/>
            <a:chExt cx="9078348" cy="3481405"/>
          </a:xfrm>
        </p:grpSpPr>
        <p:sp>
          <p:nvSpPr>
            <p:cNvPr id="24" name="Rectangle 23"/>
            <p:cNvSpPr/>
            <p:nvPr/>
          </p:nvSpPr>
          <p:spPr bwMode="auto">
            <a:xfrm>
              <a:off x="8650341" y="2255196"/>
              <a:ext cx="875219" cy="140826"/>
            </a:xfrm>
            <a:prstGeom prst="rect">
              <a:avLst/>
            </a:prstGeom>
            <a:solidFill>
              <a:schemeClr val="bg1">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R="0" indent="0" fontAlgn="base">
                <a:lnSpc>
                  <a:spcPct val="85000"/>
                </a:lnSpc>
                <a:spcBef>
                  <a:spcPct val="0"/>
                </a:spcBef>
                <a:spcAft>
                  <a:spcPct val="0"/>
                </a:spcAft>
                <a:buClrTx/>
                <a:buSzTx/>
                <a:buFontTx/>
                <a:buNone/>
                <a:tabLst/>
              </a:pPr>
              <a:endParaRPr lang="en-US" dirty="0"/>
            </a:p>
          </p:txBody>
        </p:sp>
        <p:sp>
          <p:nvSpPr>
            <p:cNvPr id="14" name="Freeform 12"/>
            <p:cNvSpPr>
              <a:spLocks/>
            </p:cNvSpPr>
            <p:nvPr/>
          </p:nvSpPr>
          <p:spPr bwMode="auto">
            <a:xfrm>
              <a:off x="447213" y="1802801"/>
              <a:ext cx="3922712" cy="420479"/>
            </a:xfrm>
            <a:custGeom>
              <a:avLst/>
              <a:gdLst/>
              <a:ahLst/>
              <a:cxnLst>
                <a:cxn ang="0">
                  <a:pos x="9198" y="174"/>
                </a:cxn>
                <a:cxn ang="0">
                  <a:pos x="9188" y="174"/>
                </a:cxn>
                <a:cxn ang="0">
                  <a:pos x="8957" y="0"/>
                </a:cxn>
                <a:cxn ang="0">
                  <a:pos x="240" y="0"/>
                </a:cxn>
                <a:cxn ang="0">
                  <a:pos x="0" y="241"/>
                </a:cxn>
                <a:cxn ang="0">
                  <a:pos x="0" y="1042"/>
                </a:cxn>
                <a:cxn ang="0">
                  <a:pos x="6767" y="1042"/>
                </a:cxn>
                <a:cxn ang="0">
                  <a:pos x="8957" y="1042"/>
                </a:cxn>
                <a:cxn ang="0">
                  <a:pos x="9719" y="1042"/>
                </a:cxn>
                <a:cxn ang="0">
                  <a:pos x="9198" y="174"/>
                </a:cxn>
              </a:cxnLst>
              <a:rect l="0" t="0" r="r" b="b"/>
              <a:pathLst>
                <a:path w="9719" h="1042">
                  <a:moveTo>
                    <a:pt x="9198" y="174"/>
                  </a:moveTo>
                  <a:cubicBezTo>
                    <a:pt x="9188" y="174"/>
                    <a:pt x="9188" y="174"/>
                    <a:pt x="9188" y="174"/>
                  </a:cubicBezTo>
                  <a:cubicBezTo>
                    <a:pt x="9159" y="74"/>
                    <a:pt x="9066" y="0"/>
                    <a:pt x="8957" y="0"/>
                  </a:cubicBezTo>
                  <a:cubicBezTo>
                    <a:pt x="240" y="0"/>
                    <a:pt x="240" y="0"/>
                    <a:pt x="240" y="0"/>
                  </a:cubicBezTo>
                  <a:cubicBezTo>
                    <a:pt x="108" y="0"/>
                    <a:pt x="0" y="108"/>
                    <a:pt x="0" y="241"/>
                  </a:cubicBezTo>
                  <a:cubicBezTo>
                    <a:pt x="0" y="1042"/>
                    <a:pt x="0" y="1042"/>
                    <a:pt x="0" y="1042"/>
                  </a:cubicBezTo>
                  <a:cubicBezTo>
                    <a:pt x="6767" y="1042"/>
                    <a:pt x="6767" y="1042"/>
                    <a:pt x="6767" y="1042"/>
                  </a:cubicBezTo>
                  <a:cubicBezTo>
                    <a:pt x="8957" y="1042"/>
                    <a:pt x="8957" y="1042"/>
                    <a:pt x="8957" y="1042"/>
                  </a:cubicBezTo>
                  <a:cubicBezTo>
                    <a:pt x="9719" y="1042"/>
                    <a:pt x="9719" y="1042"/>
                    <a:pt x="9719" y="1042"/>
                  </a:cubicBezTo>
                  <a:lnTo>
                    <a:pt x="9198" y="174"/>
                  </a:lnTo>
                  <a:close/>
                </a:path>
              </a:pathLst>
            </a:custGeom>
            <a:solidFill>
              <a:schemeClr val="bg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Rectangle 14"/>
            <p:cNvSpPr/>
            <p:nvPr/>
          </p:nvSpPr>
          <p:spPr bwMode="auto">
            <a:xfrm>
              <a:off x="4114800" y="2179320"/>
              <a:ext cx="4876800" cy="140826"/>
            </a:xfrm>
            <a:prstGeom prst="rect">
              <a:avLst/>
            </a:prstGeom>
            <a:solidFill>
              <a:schemeClr val="bg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R="0" indent="0" fontAlgn="base">
                <a:lnSpc>
                  <a:spcPct val="85000"/>
                </a:lnSpc>
                <a:spcBef>
                  <a:spcPct val="0"/>
                </a:spcBef>
                <a:spcAft>
                  <a:spcPct val="0"/>
                </a:spcAft>
                <a:buClrTx/>
                <a:buSzTx/>
                <a:buFontTx/>
                <a:buNone/>
                <a:tabLst/>
              </a:pPr>
              <a:endParaRPr lang="en-US" dirty="0"/>
            </a:p>
          </p:txBody>
        </p:sp>
        <p:grpSp>
          <p:nvGrpSpPr>
            <p:cNvPr id="5" name="Group 94"/>
            <p:cNvGrpSpPr/>
            <p:nvPr/>
          </p:nvGrpSpPr>
          <p:grpSpPr>
            <a:xfrm>
              <a:off x="447212" y="1897906"/>
              <a:ext cx="9077793" cy="3386300"/>
              <a:chOff x="344488" y="1897906"/>
              <a:chExt cx="9180518" cy="3386300"/>
            </a:xfrm>
          </p:grpSpPr>
          <p:sp>
            <p:nvSpPr>
              <p:cNvPr id="17" name="Freeform 12"/>
              <p:cNvSpPr>
                <a:spLocks/>
              </p:cNvSpPr>
              <p:nvPr/>
            </p:nvSpPr>
            <p:spPr bwMode="auto">
              <a:xfrm>
                <a:off x="344488" y="2300326"/>
                <a:ext cx="9180518" cy="2983880"/>
              </a:xfrm>
              <a:prstGeom prst="round2SameRect">
                <a:avLst>
                  <a:gd name="adj1" fmla="val 0"/>
                  <a:gd name="adj2" fmla="val 3972"/>
                </a:avLst>
              </a:pr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2"/>
              <p:cNvSpPr>
                <a:spLocks/>
              </p:cNvSpPr>
              <p:nvPr/>
            </p:nvSpPr>
            <p:spPr bwMode="auto">
              <a:xfrm>
                <a:off x="344488" y="1897906"/>
                <a:ext cx="3922712" cy="420479"/>
              </a:xfrm>
              <a:custGeom>
                <a:avLst/>
                <a:gdLst/>
                <a:ahLst/>
                <a:cxnLst>
                  <a:cxn ang="0">
                    <a:pos x="9198" y="174"/>
                  </a:cxn>
                  <a:cxn ang="0">
                    <a:pos x="9188" y="174"/>
                  </a:cxn>
                  <a:cxn ang="0">
                    <a:pos x="8957" y="0"/>
                  </a:cxn>
                  <a:cxn ang="0">
                    <a:pos x="240" y="0"/>
                  </a:cxn>
                  <a:cxn ang="0">
                    <a:pos x="0" y="241"/>
                  </a:cxn>
                  <a:cxn ang="0">
                    <a:pos x="0" y="1042"/>
                  </a:cxn>
                  <a:cxn ang="0">
                    <a:pos x="6767" y="1042"/>
                  </a:cxn>
                  <a:cxn ang="0">
                    <a:pos x="8957" y="1042"/>
                  </a:cxn>
                  <a:cxn ang="0">
                    <a:pos x="9719" y="1042"/>
                  </a:cxn>
                  <a:cxn ang="0">
                    <a:pos x="9198" y="174"/>
                  </a:cxn>
                </a:cxnLst>
                <a:rect l="0" t="0" r="r" b="b"/>
                <a:pathLst>
                  <a:path w="9719" h="1042">
                    <a:moveTo>
                      <a:pt x="9198" y="174"/>
                    </a:moveTo>
                    <a:cubicBezTo>
                      <a:pt x="9188" y="174"/>
                      <a:pt x="9188" y="174"/>
                      <a:pt x="9188" y="174"/>
                    </a:cubicBezTo>
                    <a:cubicBezTo>
                      <a:pt x="9159" y="74"/>
                      <a:pt x="9066" y="0"/>
                      <a:pt x="8957" y="0"/>
                    </a:cubicBezTo>
                    <a:cubicBezTo>
                      <a:pt x="240" y="0"/>
                      <a:pt x="240" y="0"/>
                      <a:pt x="240" y="0"/>
                    </a:cubicBezTo>
                    <a:cubicBezTo>
                      <a:pt x="108" y="0"/>
                      <a:pt x="0" y="108"/>
                      <a:pt x="0" y="241"/>
                    </a:cubicBezTo>
                    <a:cubicBezTo>
                      <a:pt x="0" y="1042"/>
                      <a:pt x="0" y="1042"/>
                      <a:pt x="0" y="1042"/>
                    </a:cubicBezTo>
                    <a:cubicBezTo>
                      <a:pt x="6767" y="1042"/>
                      <a:pt x="6767" y="1042"/>
                      <a:pt x="6767" y="1042"/>
                    </a:cubicBezTo>
                    <a:cubicBezTo>
                      <a:pt x="8957" y="1042"/>
                      <a:pt x="8957" y="1042"/>
                      <a:pt x="8957" y="1042"/>
                    </a:cubicBezTo>
                    <a:cubicBezTo>
                      <a:pt x="9719" y="1042"/>
                      <a:pt x="9719" y="1042"/>
                      <a:pt x="9719" y="1042"/>
                    </a:cubicBezTo>
                    <a:lnTo>
                      <a:pt x="9198" y="174"/>
                    </a:lnTo>
                    <a:close/>
                  </a:path>
                </a:pathLst>
              </a:cu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9" name="Freeform 12"/>
          <p:cNvSpPr>
            <a:spLocks/>
          </p:cNvSpPr>
          <p:nvPr/>
        </p:nvSpPr>
        <p:spPr bwMode="auto">
          <a:xfrm>
            <a:off x="1676400" y="2049124"/>
            <a:ext cx="7538114" cy="598826"/>
          </a:xfrm>
          <a:prstGeom prst="roundRect">
            <a:avLst/>
          </a:prstGeom>
          <a:solidFill>
            <a:schemeClr val="accent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20" name="Table 19"/>
          <p:cNvGraphicFramePr>
            <a:graphicFrameLocks noGrp="1"/>
          </p:cNvGraphicFramePr>
          <p:nvPr>
            <p:extLst>
              <p:ext uri="{D42A27DB-BD31-4B8C-83A1-F6EECF244321}">
                <p14:modId xmlns:p14="http://schemas.microsoft.com/office/powerpoint/2010/main" val="1236512640"/>
              </p:ext>
            </p:extLst>
          </p:nvPr>
        </p:nvGraphicFramePr>
        <p:xfrm>
          <a:off x="645188" y="2022454"/>
          <a:ext cx="8569326" cy="2131358"/>
        </p:xfrm>
        <a:graphic>
          <a:graphicData uri="http://schemas.openxmlformats.org/drawingml/2006/table">
            <a:tbl>
              <a:tblPr firstRow="1" bandRow="1">
                <a:tableStyleId>{C083E6E3-FA7D-4D7B-A595-EF9225AFEA82}</a:tableStyleId>
              </a:tblPr>
              <a:tblGrid>
                <a:gridCol w="1670908">
                  <a:extLst>
                    <a:ext uri="{9D8B030D-6E8A-4147-A177-3AD203B41FA5}">
                      <a16:colId xmlns:a16="http://schemas.microsoft.com/office/drawing/2014/main" val="20000"/>
                    </a:ext>
                  </a:extLst>
                </a:gridCol>
                <a:gridCol w="3104288">
                  <a:extLst>
                    <a:ext uri="{9D8B030D-6E8A-4147-A177-3AD203B41FA5}">
                      <a16:colId xmlns:a16="http://schemas.microsoft.com/office/drawing/2014/main" val="20001"/>
                    </a:ext>
                  </a:extLst>
                </a:gridCol>
                <a:gridCol w="3794130">
                  <a:extLst>
                    <a:ext uri="{9D8B030D-6E8A-4147-A177-3AD203B41FA5}">
                      <a16:colId xmlns:a16="http://schemas.microsoft.com/office/drawing/2014/main" val="20002"/>
                    </a:ext>
                  </a:extLst>
                </a:gridCol>
              </a:tblGrid>
              <a:tr h="644546">
                <a:tc>
                  <a:txBody>
                    <a:bodyPr/>
                    <a:lstStyle/>
                    <a:p>
                      <a:pPr algn="l">
                        <a:spcAft>
                          <a:spcPts val="200"/>
                        </a:spcAft>
                      </a:pPr>
                      <a:endParaRPr lang="en-US" sz="1400" b="1"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endParaRPr>
                    </a:p>
                  </a:txBody>
                  <a:tcPr marL="45720" marR="45720"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pPr marL="0" marR="0" indent="0" algn="l" defTabSz="914342" rtl="0" eaLnBrk="1" fontAlgn="auto" latinLnBrk="0" hangingPunct="1">
                        <a:lnSpc>
                          <a:spcPct val="100000"/>
                        </a:lnSpc>
                        <a:spcBef>
                          <a:spcPts val="0"/>
                        </a:spcBef>
                        <a:spcAft>
                          <a:spcPts val="200"/>
                        </a:spcAft>
                        <a:buClrTx/>
                        <a:buSzTx/>
                        <a:buFontTx/>
                        <a:buNone/>
                        <a:tabLst/>
                        <a:defRPr/>
                      </a:pPr>
                      <a:r>
                        <a:rPr lang="en-US" sz="1400" b="1" i="0" kern="12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4.0"</a:t>
                      </a:r>
                      <a:br>
                        <a:rPr lang="en-US" sz="1400" b="1" i="0" kern="12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br>
                      <a:r>
                        <a:rPr lang="en-US" sz="1400" b="1" i="0" kern="12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2014-2015)</a:t>
                      </a:r>
                    </a:p>
                  </a:txBody>
                  <a:tcPr marL="45720" marR="45720" marT="91440" marB="91440">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200"/>
                        </a:spcAft>
                      </a:pPr>
                      <a:r>
                        <a:rPr lang="en-US" sz="14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4.1"</a:t>
                      </a:r>
                      <a:br>
                        <a:rPr lang="en-US" sz="14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2015-2016)</a:t>
                      </a:r>
                    </a:p>
                  </a:txBody>
                  <a:tcPr marL="45720" marR="45720" marT="91440" marB="91440">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25089">
                <a:tc>
                  <a:txBody>
                    <a:bodyPr/>
                    <a:lstStyle/>
                    <a:p>
                      <a:pPr algn="l" fontAlgn="b">
                        <a:spcAft>
                          <a:spcPts val="200"/>
                        </a:spcAft>
                      </a:pPr>
                      <a:r>
                        <a:rPr lang="en-US" sz="1100" b="1"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New Features</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Meter Data Management -  Implementation of 5 VEE rules</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indent="-228600" algn="l" defTabSz="914342" rtl="0" eaLnBrk="1" fontAlgn="b" latinLnBrk="0" hangingPunct="1">
                        <a:lnSpc>
                          <a:spcPct val="100000"/>
                        </a:lnSpc>
                        <a:spcBef>
                          <a:spcPts val="0"/>
                        </a:spcBef>
                        <a:spcAft>
                          <a:spcPts val="200"/>
                        </a:spcAft>
                        <a:buClr>
                          <a:schemeClr val="bg1"/>
                        </a:buClr>
                        <a:buSzTx/>
                        <a:buFont typeface="Wingdings" pitchFamily="2" charset="2"/>
                        <a:buChar char="§"/>
                        <a:tabLst/>
                        <a:defRP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Implementation of interpolation for meter value estimation.</a:t>
                      </a:r>
                    </a:p>
                    <a:p>
                      <a:pPr marL="228600" marR="0" indent="-228600" algn="l" defTabSz="914342" rtl="0" eaLnBrk="1" fontAlgn="b" latinLnBrk="0" hangingPunct="1">
                        <a:lnSpc>
                          <a:spcPct val="100000"/>
                        </a:lnSpc>
                        <a:spcBef>
                          <a:spcPts val="0"/>
                        </a:spcBef>
                        <a:spcAft>
                          <a:spcPts val="200"/>
                        </a:spcAft>
                        <a:buClr>
                          <a:schemeClr val="bg1"/>
                        </a:buClr>
                        <a:buSzTx/>
                        <a:buFont typeface="Wingdings" pitchFamily="2" charset="2"/>
                        <a:buChar char="§"/>
                        <a:tabLst/>
                        <a:defRP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Material Logistics module in Android client</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85077">
                <a:tc>
                  <a:txBody>
                    <a:bodyPr/>
                    <a:lstStyle/>
                    <a:p>
                      <a:pPr algn="l" fontAlgn="b">
                        <a:spcAft>
                          <a:spcPts val="200"/>
                        </a:spcAft>
                      </a:pPr>
                      <a:r>
                        <a:rPr lang="en-US" sz="1100" b="1"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Enhancements</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Performance fix for meter value handling and event management.</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Performance fixes for collection/delivery</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6646">
                <a:tc>
                  <a:txBody>
                    <a:bodyPr/>
                    <a:lstStyle/>
                    <a:p>
                      <a:pPr algn="l" fontAlgn="b">
                        <a:spcAft>
                          <a:spcPts val="200"/>
                        </a:spcAft>
                      </a:pPr>
                      <a:r>
                        <a:rPr lang="en-US" sz="1100" b="1"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Bug Fixes</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indent="-228600" algn="l" defTabSz="914342" rtl="0" eaLnBrk="1" fontAlgn="b" latinLnBrk="0" hangingPunct="1">
                        <a:lnSpc>
                          <a:spcPct val="100000"/>
                        </a:lnSpc>
                        <a:spcBef>
                          <a:spcPts val="0"/>
                        </a:spcBef>
                        <a:spcAft>
                          <a:spcPts val="200"/>
                        </a:spcAft>
                        <a:buClr>
                          <a:schemeClr val="bg1"/>
                        </a:buClr>
                        <a:buSzTx/>
                        <a:buFont typeface="Wingdings" pitchFamily="2" charset="2"/>
                        <a:buChar char="§"/>
                        <a:tabLst/>
                        <a:defRPr/>
                      </a:pPr>
                      <a:r>
                        <a:rPr lang="en-US" sz="1100" b="0" i="0" u="none" strike="noStrike" kern="12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Bugs reported by clients </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indent="-228600" algn="l" defTabSz="914342" rtl="0" eaLnBrk="1" fontAlgn="b" latinLnBrk="0" hangingPunct="1">
                        <a:lnSpc>
                          <a:spcPct val="100000"/>
                        </a:lnSpc>
                        <a:spcBef>
                          <a:spcPts val="0"/>
                        </a:spcBef>
                        <a:spcAft>
                          <a:spcPts val="200"/>
                        </a:spcAft>
                        <a:buClr>
                          <a:schemeClr val="bg1"/>
                        </a:buClr>
                        <a:buSzTx/>
                        <a:buFont typeface="Wingdings" pitchFamily="2" charset="2"/>
                        <a:buChar char="§"/>
                        <a:tabLst/>
                        <a:defRPr/>
                      </a:pPr>
                      <a:r>
                        <a:rPr lang="en-US" sz="1100" b="0" i="0" u="none" strike="noStrike" kern="12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Bugs reported by clients </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21" name="Freeform 7"/>
          <p:cNvSpPr>
            <a:spLocks/>
          </p:cNvSpPr>
          <p:nvPr/>
        </p:nvSpPr>
        <p:spPr bwMode="auto">
          <a:xfrm>
            <a:off x="395495" y="1366775"/>
            <a:ext cx="9068710" cy="4044674"/>
          </a:xfrm>
          <a:custGeom>
            <a:avLst/>
            <a:gdLst>
              <a:gd name="connsiteX0" fmla="*/ 992 w 10000"/>
              <a:gd name="connsiteY0" fmla="*/ 10939 h 10939"/>
              <a:gd name="connsiteX1" fmla="*/ 316 w 10000"/>
              <a:gd name="connsiteY1" fmla="*/ 8168 h 10939"/>
              <a:gd name="connsiteX2" fmla="*/ 0 w 10000"/>
              <a:gd name="connsiteY2" fmla="*/ 7460 h 10939"/>
              <a:gd name="connsiteX3" fmla="*/ 0 w 10000"/>
              <a:gd name="connsiteY3" fmla="*/ 467 h 10939"/>
              <a:gd name="connsiteX4" fmla="*/ 208 w 10000"/>
              <a:gd name="connsiteY4" fmla="*/ 0 h 10939"/>
              <a:gd name="connsiteX5" fmla="*/ 4006 w 10000"/>
              <a:gd name="connsiteY5" fmla="*/ 0 h 10939"/>
              <a:gd name="connsiteX6" fmla="*/ 4165 w 10000"/>
              <a:gd name="connsiteY6" fmla="*/ 167 h 10939"/>
              <a:gd name="connsiteX7" fmla="*/ 4168 w 10000"/>
              <a:gd name="connsiteY7" fmla="*/ 167 h 10939"/>
              <a:gd name="connsiteX8" fmla="*/ 4371 w 10000"/>
              <a:gd name="connsiteY8" fmla="*/ 922 h 10939"/>
              <a:gd name="connsiteX9" fmla="*/ 9424 w 10000"/>
              <a:gd name="connsiteY9" fmla="*/ 922 h 10939"/>
              <a:gd name="connsiteX10" fmla="*/ 9424 w 10000"/>
              <a:gd name="connsiteY10" fmla="*/ 1221 h 10939"/>
              <a:gd name="connsiteX11" fmla="*/ 10000 w 10000"/>
              <a:gd name="connsiteY11" fmla="*/ 1221 h 10939"/>
              <a:gd name="connsiteX12" fmla="*/ 10000 w 10000"/>
              <a:gd name="connsiteY12" fmla="*/ 10000 h 10939"/>
              <a:gd name="connsiteX0" fmla="*/ 992 w 10000"/>
              <a:gd name="connsiteY0" fmla="*/ 10939 h 10939"/>
              <a:gd name="connsiteX1" fmla="*/ 275 w 10000"/>
              <a:gd name="connsiteY1" fmla="*/ 10939 h 10939"/>
              <a:gd name="connsiteX2" fmla="*/ 0 w 10000"/>
              <a:gd name="connsiteY2" fmla="*/ 7460 h 10939"/>
              <a:gd name="connsiteX3" fmla="*/ 0 w 10000"/>
              <a:gd name="connsiteY3" fmla="*/ 467 h 10939"/>
              <a:gd name="connsiteX4" fmla="*/ 208 w 10000"/>
              <a:gd name="connsiteY4" fmla="*/ 0 h 10939"/>
              <a:gd name="connsiteX5" fmla="*/ 4006 w 10000"/>
              <a:gd name="connsiteY5" fmla="*/ 0 h 10939"/>
              <a:gd name="connsiteX6" fmla="*/ 4165 w 10000"/>
              <a:gd name="connsiteY6" fmla="*/ 167 h 10939"/>
              <a:gd name="connsiteX7" fmla="*/ 4168 w 10000"/>
              <a:gd name="connsiteY7" fmla="*/ 167 h 10939"/>
              <a:gd name="connsiteX8" fmla="*/ 4371 w 10000"/>
              <a:gd name="connsiteY8" fmla="*/ 922 h 10939"/>
              <a:gd name="connsiteX9" fmla="*/ 9424 w 10000"/>
              <a:gd name="connsiteY9" fmla="*/ 922 h 10939"/>
              <a:gd name="connsiteX10" fmla="*/ 9424 w 10000"/>
              <a:gd name="connsiteY10" fmla="*/ 1221 h 10939"/>
              <a:gd name="connsiteX11" fmla="*/ 10000 w 10000"/>
              <a:gd name="connsiteY11" fmla="*/ 1221 h 10939"/>
              <a:gd name="connsiteX12" fmla="*/ 10000 w 10000"/>
              <a:gd name="connsiteY12" fmla="*/ 10000 h 10939"/>
              <a:gd name="connsiteX0" fmla="*/ 992 w 10000"/>
              <a:gd name="connsiteY0" fmla="*/ 10939 h 10939"/>
              <a:gd name="connsiteX1" fmla="*/ 275 w 10000"/>
              <a:gd name="connsiteY1" fmla="*/ 10939 h 10939"/>
              <a:gd name="connsiteX2" fmla="*/ 0 w 10000"/>
              <a:gd name="connsiteY2" fmla="*/ 10481 h 10939"/>
              <a:gd name="connsiteX3" fmla="*/ 0 w 10000"/>
              <a:gd name="connsiteY3" fmla="*/ 467 h 10939"/>
              <a:gd name="connsiteX4" fmla="*/ 208 w 10000"/>
              <a:gd name="connsiteY4" fmla="*/ 0 h 10939"/>
              <a:gd name="connsiteX5" fmla="*/ 4006 w 10000"/>
              <a:gd name="connsiteY5" fmla="*/ 0 h 10939"/>
              <a:gd name="connsiteX6" fmla="*/ 4165 w 10000"/>
              <a:gd name="connsiteY6" fmla="*/ 167 h 10939"/>
              <a:gd name="connsiteX7" fmla="*/ 4168 w 10000"/>
              <a:gd name="connsiteY7" fmla="*/ 167 h 10939"/>
              <a:gd name="connsiteX8" fmla="*/ 4371 w 10000"/>
              <a:gd name="connsiteY8" fmla="*/ 922 h 10939"/>
              <a:gd name="connsiteX9" fmla="*/ 9424 w 10000"/>
              <a:gd name="connsiteY9" fmla="*/ 922 h 10939"/>
              <a:gd name="connsiteX10" fmla="*/ 9424 w 10000"/>
              <a:gd name="connsiteY10" fmla="*/ 1221 h 10939"/>
              <a:gd name="connsiteX11" fmla="*/ 10000 w 10000"/>
              <a:gd name="connsiteY11" fmla="*/ 1221 h 10939"/>
              <a:gd name="connsiteX12" fmla="*/ 10000 w 10000"/>
              <a:gd name="connsiteY12" fmla="*/ 10000 h 10939"/>
              <a:gd name="connsiteX0" fmla="*/ 992 w 10000"/>
              <a:gd name="connsiteY0" fmla="*/ 11881 h 11881"/>
              <a:gd name="connsiteX1" fmla="*/ 275 w 10000"/>
              <a:gd name="connsiteY1" fmla="*/ 10939 h 11881"/>
              <a:gd name="connsiteX2" fmla="*/ 0 w 10000"/>
              <a:gd name="connsiteY2" fmla="*/ 10481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9424 w 10000"/>
              <a:gd name="connsiteY10" fmla="*/ 1221 h 11881"/>
              <a:gd name="connsiteX11" fmla="*/ 10000 w 10000"/>
              <a:gd name="connsiteY11" fmla="*/ 1221 h 11881"/>
              <a:gd name="connsiteX12" fmla="*/ 10000 w 10000"/>
              <a:gd name="connsiteY12" fmla="*/ 10000 h 11881"/>
              <a:gd name="connsiteX0" fmla="*/ 992 w 10000"/>
              <a:gd name="connsiteY0" fmla="*/ 11881 h 11881"/>
              <a:gd name="connsiteX1" fmla="*/ 275 w 10000"/>
              <a:gd name="connsiteY1" fmla="*/ 11881 h 11881"/>
              <a:gd name="connsiteX2" fmla="*/ 0 w 10000"/>
              <a:gd name="connsiteY2" fmla="*/ 10481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9424 w 10000"/>
              <a:gd name="connsiteY10" fmla="*/ 1221 h 11881"/>
              <a:gd name="connsiteX11" fmla="*/ 10000 w 10000"/>
              <a:gd name="connsiteY11" fmla="*/ 1221 h 11881"/>
              <a:gd name="connsiteX12" fmla="*/ 10000 w 10000"/>
              <a:gd name="connsiteY12"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9424 w 10000"/>
              <a:gd name="connsiteY10" fmla="*/ 1221 h 11881"/>
              <a:gd name="connsiteX11" fmla="*/ 10000 w 10000"/>
              <a:gd name="connsiteY11" fmla="*/ 1221 h 11881"/>
              <a:gd name="connsiteX12" fmla="*/ 10000 w 10000"/>
              <a:gd name="connsiteY12"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10000 w 10000"/>
              <a:gd name="connsiteY10" fmla="*/ 1221 h 11881"/>
              <a:gd name="connsiteX11" fmla="*/ 10000 w 10000"/>
              <a:gd name="connsiteY11"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221 h 11881"/>
              <a:gd name="connsiteX11" fmla="*/ 10000 w 10000"/>
              <a:gd name="connsiteY11"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0000 h 11881"/>
              <a:gd name="connsiteX0" fmla="*/ 992 w 10000"/>
              <a:gd name="connsiteY0" fmla="*/ 11881 h 11881"/>
              <a:gd name="connsiteX1" fmla="*/ 275 w 10000"/>
              <a:gd name="connsiteY1" fmla="*/ 11881 h 11881"/>
              <a:gd name="connsiteX2" fmla="*/ 0 w 10000"/>
              <a:gd name="connsiteY2" fmla="*/ 8283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0000 h 11881"/>
              <a:gd name="connsiteX0" fmla="*/ 992 w 10000"/>
              <a:gd name="connsiteY0" fmla="*/ 11881 h 11881"/>
              <a:gd name="connsiteX1" fmla="*/ 275 w 10000"/>
              <a:gd name="connsiteY1" fmla="*/ 9055 h 11881"/>
              <a:gd name="connsiteX2" fmla="*/ 0 w 10000"/>
              <a:gd name="connsiteY2" fmla="*/ 8283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0000 h 11881"/>
              <a:gd name="connsiteX0" fmla="*/ 992 w 10000"/>
              <a:gd name="connsiteY0" fmla="*/ 9055 h 10000"/>
              <a:gd name="connsiteX1" fmla="*/ 275 w 10000"/>
              <a:gd name="connsiteY1" fmla="*/ 9055 h 10000"/>
              <a:gd name="connsiteX2" fmla="*/ 0 w 10000"/>
              <a:gd name="connsiteY2" fmla="*/ 8283 h 10000"/>
              <a:gd name="connsiteX3" fmla="*/ 0 w 10000"/>
              <a:gd name="connsiteY3" fmla="*/ 467 h 10000"/>
              <a:gd name="connsiteX4" fmla="*/ 208 w 10000"/>
              <a:gd name="connsiteY4" fmla="*/ 0 h 10000"/>
              <a:gd name="connsiteX5" fmla="*/ 4006 w 10000"/>
              <a:gd name="connsiteY5" fmla="*/ 0 h 10000"/>
              <a:gd name="connsiteX6" fmla="*/ 4165 w 10000"/>
              <a:gd name="connsiteY6" fmla="*/ 167 h 10000"/>
              <a:gd name="connsiteX7" fmla="*/ 4168 w 10000"/>
              <a:gd name="connsiteY7" fmla="*/ 167 h 10000"/>
              <a:gd name="connsiteX8" fmla="*/ 4371 w 10000"/>
              <a:gd name="connsiteY8" fmla="*/ 922 h 10000"/>
              <a:gd name="connsiteX9" fmla="*/ 10000 w 10000"/>
              <a:gd name="connsiteY9" fmla="*/ 919 h 10000"/>
              <a:gd name="connsiteX10" fmla="*/ 10000 w 10000"/>
              <a:gd name="connsiteY10"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992" y="9055"/>
                </a:moveTo>
                <a:lnTo>
                  <a:pt x="275" y="9055"/>
                </a:lnTo>
                <a:cubicBezTo>
                  <a:pt x="100" y="9055"/>
                  <a:pt x="0" y="8674"/>
                  <a:pt x="0" y="8283"/>
                </a:cubicBezTo>
                <a:lnTo>
                  <a:pt x="0" y="467"/>
                </a:lnTo>
                <a:cubicBezTo>
                  <a:pt x="0" y="207"/>
                  <a:pt x="92" y="0"/>
                  <a:pt x="208" y="0"/>
                </a:cubicBezTo>
                <a:lnTo>
                  <a:pt x="4006" y="0"/>
                </a:lnTo>
                <a:cubicBezTo>
                  <a:pt x="4067" y="0"/>
                  <a:pt x="4126" y="63"/>
                  <a:pt x="4165" y="167"/>
                </a:cubicBezTo>
                <a:lnTo>
                  <a:pt x="4168" y="167"/>
                </a:lnTo>
                <a:cubicBezTo>
                  <a:pt x="4236" y="419"/>
                  <a:pt x="4303" y="670"/>
                  <a:pt x="4371" y="922"/>
                </a:cubicBezTo>
                <a:lnTo>
                  <a:pt x="10000" y="919"/>
                </a:lnTo>
                <a:lnTo>
                  <a:pt x="10000" y="10000"/>
                </a:lnTo>
              </a:path>
            </a:pathLst>
          </a:custGeom>
          <a:noFill/>
          <a:ln w="9525" cap="flat">
            <a:solidFill>
              <a:schemeClr val="bg1">
                <a:lumMod val="65000"/>
              </a:schemeClr>
            </a:solidFill>
            <a:prstDash val="solid"/>
            <a:miter lim="800000"/>
            <a:headEnd type="diamond"/>
            <a:tailEnd type="diamond"/>
          </a:ln>
        </p:spPr>
        <p:txBody>
          <a:bodyPr vert="horz" wrap="square" lIns="91440" tIns="45720" rIns="91440" bIns="45720" numCol="1" anchor="t" anchorCtr="0" compatLnSpc="1">
            <a:prstTxWarp prst="textNoShape">
              <a:avLst/>
            </a:prstTxWarp>
          </a:bodyPr>
          <a:lstStyle/>
          <a:p>
            <a:endParaRPr lang="en-US"/>
          </a:p>
        </p:txBody>
      </p:sp>
    </p:spTree>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3055"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Release Summary 4.2 – 5.0</a:t>
            </a:r>
          </a:p>
        </p:txBody>
      </p:sp>
      <p:grpSp>
        <p:nvGrpSpPr>
          <p:cNvPr id="3" name="Group 12"/>
          <p:cNvGrpSpPr/>
          <p:nvPr/>
        </p:nvGrpSpPr>
        <p:grpSpPr>
          <a:xfrm>
            <a:off x="473138" y="1073475"/>
            <a:ext cx="8906881" cy="5098726"/>
            <a:chOff x="447212" y="1802801"/>
            <a:chExt cx="9078348" cy="3481405"/>
          </a:xfrm>
        </p:grpSpPr>
        <p:sp>
          <p:nvSpPr>
            <p:cNvPr id="24" name="Rectangle 23"/>
            <p:cNvSpPr/>
            <p:nvPr/>
          </p:nvSpPr>
          <p:spPr bwMode="auto">
            <a:xfrm>
              <a:off x="8650341" y="2255196"/>
              <a:ext cx="875219" cy="140826"/>
            </a:xfrm>
            <a:prstGeom prst="rect">
              <a:avLst/>
            </a:prstGeom>
            <a:solidFill>
              <a:schemeClr val="bg1">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R="0" indent="0" fontAlgn="base">
                <a:lnSpc>
                  <a:spcPct val="85000"/>
                </a:lnSpc>
                <a:spcBef>
                  <a:spcPct val="0"/>
                </a:spcBef>
                <a:spcAft>
                  <a:spcPct val="0"/>
                </a:spcAft>
                <a:buClrTx/>
                <a:buSzTx/>
                <a:buFontTx/>
                <a:buNone/>
                <a:tabLst/>
              </a:pPr>
              <a:endParaRPr lang="en-US" dirty="0"/>
            </a:p>
          </p:txBody>
        </p:sp>
        <p:sp>
          <p:nvSpPr>
            <p:cNvPr id="14" name="Freeform 12"/>
            <p:cNvSpPr>
              <a:spLocks/>
            </p:cNvSpPr>
            <p:nvPr/>
          </p:nvSpPr>
          <p:spPr bwMode="auto">
            <a:xfrm>
              <a:off x="447213" y="1802801"/>
              <a:ext cx="3922712" cy="420479"/>
            </a:xfrm>
            <a:custGeom>
              <a:avLst/>
              <a:gdLst/>
              <a:ahLst/>
              <a:cxnLst>
                <a:cxn ang="0">
                  <a:pos x="9198" y="174"/>
                </a:cxn>
                <a:cxn ang="0">
                  <a:pos x="9188" y="174"/>
                </a:cxn>
                <a:cxn ang="0">
                  <a:pos x="8957" y="0"/>
                </a:cxn>
                <a:cxn ang="0">
                  <a:pos x="240" y="0"/>
                </a:cxn>
                <a:cxn ang="0">
                  <a:pos x="0" y="241"/>
                </a:cxn>
                <a:cxn ang="0">
                  <a:pos x="0" y="1042"/>
                </a:cxn>
                <a:cxn ang="0">
                  <a:pos x="6767" y="1042"/>
                </a:cxn>
                <a:cxn ang="0">
                  <a:pos x="8957" y="1042"/>
                </a:cxn>
                <a:cxn ang="0">
                  <a:pos x="9719" y="1042"/>
                </a:cxn>
                <a:cxn ang="0">
                  <a:pos x="9198" y="174"/>
                </a:cxn>
              </a:cxnLst>
              <a:rect l="0" t="0" r="r" b="b"/>
              <a:pathLst>
                <a:path w="9719" h="1042">
                  <a:moveTo>
                    <a:pt x="9198" y="174"/>
                  </a:moveTo>
                  <a:cubicBezTo>
                    <a:pt x="9188" y="174"/>
                    <a:pt x="9188" y="174"/>
                    <a:pt x="9188" y="174"/>
                  </a:cubicBezTo>
                  <a:cubicBezTo>
                    <a:pt x="9159" y="74"/>
                    <a:pt x="9066" y="0"/>
                    <a:pt x="8957" y="0"/>
                  </a:cubicBezTo>
                  <a:cubicBezTo>
                    <a:pt x="240" y="0"/>
                    <a:pt x="240" y="0"/>
                    <a:pt x="240" y="0"/>
                  </a:cubicBezTo>
                  <a:cubicBezTo>
                    <a:pt x="108" y="0"/>
                    <a:pt x="0" y="108"/>
                    <a:pt x="0" y="241"/>
                  </a:cubicBezTo>
                  <a:cubicBezTo>
                    <a:pt x="0" y="1042"/>
                    <a:pt x="0" y="1042"/>
                    <a:pt x="0" y="1042"/>
                  </a:cubicBezTo>
                  <a:cubicBezTo>
                    <a:pt x="6767" y="1042"/>
                    <a:pt x="6767" y="1042"/>
                    <a:pt x="6767" y="1042"/>
                  </a:cubicBezTo>
                  <a:cubicBezTo>
                    <a:pt x="8957" y="1042"/>
                    <a:pt x="8957" y="1042"/>
                    <a:pt x="8957" y="1042"/>
                  </a:cubicBezTo>
                  <a:cubicBezTo>
                    <a:pt x="9719" y="1042"/>
                    <a:pt x="9719" y="1042"/>
                    <a:pt x="9719" y="1042"/>
                  </a:cubicBezTo>
                  <a:lnTo>
                    <a:pt x="9198" y="174"/>
                  </a:lnTo>
                  <a:close/>
                </a:path>
              </a:pathLst>
            </a:custGeom>
            <a:solidFill>
              <a:schemeClr val="bg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Rectangle 14"/>
            <p:cNvSpPr/>
            <p:nvPr/>
          </p:nvSpPr>
          <p:spPr bwMode="auto">
            <a:xfrm>
              <a:off x="4114800" y="2179320"/>
              <a:ext cx="4876800" cy="140826"/>
            </a:xfrm>
            <a:prstGeom prst="rect">
              <a:avLst/>
            </a:prstGeom>
            <a:solidFill>
              <a:schemeClr val="bg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R="0" indent="0" fontAlgn="base">
                <a:lnSpc>
                  <a:spcPct val="85000"/>
                </a:lnSpc>
                <a:spcBef>
                  <a:spcPct val="0"/>
                </a:spcBef>
                <a:spcAft>
                  <a:spcPct val="0"/>
                </a:spcAft>
                <a:buClrTx/>
                <a:buSzTx/>
                <a:buFontTx/>
                <a:buNone/>
                <a:tabLst/>
              </a:pPr>
              <a:endParaRPr lang="en-US" dirty="0"/>
            </a:p>
          </p:txBody>
        </p:sp>
        <p:grpSp>
          <p:nvGrpSpPr>
            <p:cNvPr id="5" name="Group 94"/>
            <p:cNvGrpSpPr/>
            <p:nvPr/>
          </p:nvGrpSpPr>
          <p:grpSpPr>
            <a:xfrm>
              <a:off x="447212" y="1876477"/>
              <a:ext cx="9077793" cy="3407729"/>
              <a:chOff x="344488" y="1876477"/>
              <a:chExt cx="9180518" cy="3407729"/>
            </a:xfrm>
          </p:grpSpPr>
          <p:sp>
            <p:nvSpPr>
              <p:cNvPr id="17" name="Freeform 12"/>
              <p:cNvSpPr>
                <a:spLocks/>
              </p:cNvSpPr>
              <p:nvPr/>
            </p:nvSpPr>
            <p:spPr bwMode="auto">
              <a:xfrm>
                <a:off x="344488" y="2300326"/>
                <a:ext cx="9180518" cy="2983880"/>
              </a:xfrm>
              <a:prstGeom prst="round2SameRect">
                <a:avLst>
                  <a:gd name="adj1" fmla="val 0"/>
                  <a:gd name="adj2" fmla="val 3972"/>
                </a:avLst>
              </a:pr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2"/>
              <p:cNvSpPr>
                <a:spLocks/>
              </p:cNvSpPr>
              <p:nvPr/>
            </p:nvSpPr>
            <p:spPr bwMode="auto">
              <a:xfrm>
                <a:off x="388879" y="1876477"/>
                <a:ext cx="3922712" cy="420479"/>
              </a:xfrm>
              <a:custGeom>
                <a:avLst/>
                <a:gdLst/>
                <a:ahLst/>
                <a:cxnLst>
                  <a:cxn ang="0">
                    <a:pos x="9198" y="174"/>
                  </a:cxn>
                  <a:cxn ang="0">
                    <a:pos x="9188" y="174"/>
                  </a:cxn>
                  <a:cxn ang="0">
                    <a:pos x="8957" y="0"/>
                  </a:cxn>
                  <a:cxn ang="0">
                    <a:pos x="240" y="0"/>
                  </a:cxn>
                  <a:cxn ang="0">
                    <a:pos x="0" y="241"/>
                  </a:cxn>
                  <a:cxn ang="0">
                    <a:pos x="0" y="1042"/>
                  </a:cxn>
                  <a:cxn ang="0">
                    <a:pos x="6767" y="1042"/>
                  </a:cxn>
                  <a:cxn ang="0">
                    <a:pos x="8957" y="1042"/>
                  </a:cxn>
                  <a:cxn ang="0">
                    <a:pos x="9719" y="1042"/>
                  </a:cxn>
                  <a:cxn ang="0">
                    <a:pos x="9198" y="174"/>
                  </a:cxn>
                </a:cxnLst>
                <a:rect l="0" t="0" r="r" b="b"/>
                <a:pathLst>
                  <a:path w="9719" h="1042">
                    <a:moveTo>
                      <a:pt x="9198" y="174"/>
                    </a:moveTo>
                    <a:cubicBezTo>
                      <a:pt x="9188" y="174"/>
                      <a:pt x="9188" y="174"/>
                      <a:pt x="9188" y="174"/>
                    </a:cubicBezTo>
                    <a:cubicBezTo>
                      <a:pt x="9159" y="74"/>
                      <a:pt x="9066" y="0"/>
                      <a:pt x="8957" y="0"/>
                    </a:cubicBezTo>
                    <a:cubicBezTo>
                      <a:pt x="240" y="0"/>
                      <a:pt x="240" y="0"/>
                      <a:pt x="240" y="0"/>
                    </a:cubicBezTo>
                    <a:cubicBezTo>
                      <a:pt x="108" y="0"/>
                      <a:pt x="0" y="108"/>
                      <a:pt x="0" y="241"/>
                    </a:cubicBezTo>
                    <a:cubicBezTo>
                      <a:pt x="0" y="1042"/>
                      <a:pt x="0" y="1042"/>
                      <a:pt x="0" y="1042"/>
                    </a:cubicBezTo>
                    <a:cubicBezTo>
                      <a:pt x="6767" y="1042"/>
                      <a:pt x="6767" y="1042"/>
                      <a:pt x="6767" y="1042"/>
                    </a:cubicBezTo>
                    <a:cubicBezTo>
                      <a:pt x="8957" y="1042"/>
                      <a:pt x="8957" y="1042"/>
                      <a:pt x="8957" y="1042"/>
                    </a:cubicBezTo>
                    <a:cubicBezTo>
                      <a:pt x="9719" y="1042"/>
                      <a:pt x="9719" y="1042"/>
                      <a:pt x="9719" y="1042"/>
                    </a:cubicBezTo>
                    <a:lnTo>
                      <a:pt x="9198" y="174"/>
                    </a:lnTo>
                    <a:close/>
                  </a:path>
                </a:pathLst>
              </a:cu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9" name="Freeform 12"/>
          <p:cNvSpPr>
            <a:spLocks/>
          </p:cNvSpPr>
          <p:nvPr/>
        </p:nvSpPr>
        <p:spPr bwMode="auto">
          <a:xfrm>
            <a:off x="1672856" y="1661449"/>
            <a:ext cx="7538114" cy="598826"/>
          </a:xfrm>
          <a:prstGeom prst="roundRect">
            <a:avLst/>
          </a:prstGeom>
          <a:solidFill>
            <a:schemeClr val="accent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aphicFrame>
        <p:nvGraphicFramePr>
          <p:cNvPr id="20" name="Table 19"/>
          <p:cNvGraphicFramePr>
            <a:graphicFrameLocks noGrp="1"/>
          </p:cNvGraphicFramePr>
          <p:nvPr>
            <p:extLst>
              <p:ext uri="{D42A27DB-BD31-4B8C-83A1-F6EECF244321}">
                <p14:modId xmlns:p14="http://schemas.microsoft.com/office/powerpoint/2010/main" val="3478261569"/>
              </p:ext>
            </p:extLst>
          </p:nvPr>
        </p:nvGraphicFramePr>
        <p:xfrm>
          <a:off x="641643" y="1634780"/>
          <a:ext cx="8784129" cy="4461237"/>
        </p:xfrm>
        <a:graphic>
          <a:graphicData uri="http://schemas.openxmlformats.org/drawingml/2006/table">
            <a:tbl>
              <a:tblPr firstRow="1" bandRow="1">
                <a:tableStyleId>{C083E6E3-FA7D-4D7B-A595-EF9225AFEA82}</a:tableStyleId>
              </a:tblPr>
              <a:tblGrid>
                <a:gridCol w="1135171">
                  <a:extLst>
                    <a:ext uri="{9D8B030D-6E8A-4147-A177-3AD203B41FA5}">
                      <a16:colId xmlns:a16="http://schemas.microsoft.com/office/drawing/2014/main" val="20000"/>
                    </a:ext>
                  </a:extLst>
                </a:gridCol>
                <a:gridCol w="2337986">
                  <a:extLst>
                    <a:ext uri="{9D8B030D-6E8A-4147-A177-3AD203B41FA5}">
                      <a16:colId xmlns:a16="http://schemas.microsoft.com/office/drawing/2014/main" val="20001"/>
                    </a:ext>
                  </a:extLst>
                </a:gridCol>
                <a:gridCol w="2348619">
                  <a:extLst>
                    <a:ext uri="{9D8B030D-6E8A-4147-A177-3AD203B41FA5}">
                      <a16:colId xmlns:a16="http://schemas.microsoft.com/office/drawing/2014/main" val="20002"/>
                    </a:ext>
                  </a:extLst>
                </a:gridCol>
                <a:gridCol w="2962353">
                  <a:extLst>
                    <a:ext uri="{9D8B030D-6E8A-4147-A177-3AD203B41FA5}">
                      <a16:colId xmlns:a16="http://schemas.microsoft.com/office/drawing/2014/main" val="20003"/>
                    </a:ext>
                  </a:extLst>
                </a:gridCol>
              </a:tblGrid>
              <a:tr h="602170">
                <a:tc>
                  <a:txBody>
                    <a:bodyPr/>
                    <a:lstStyle/>
                    <a:p>
                      <a:pPr algn="l">
                        <a:spcAft>
                          <a:spcPts val="200"/>
                        </a:spcAft>
                      </a:pPr>
                      <a:endParaRPr lang="en-US" sz="1400" b="1"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endParaRPr>
                    </a:p>
                  </a:txBody>
                  <a:tcPr marL="45720" marR="45720"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pPr marL="0" marR="0" indent="0" algn="l" defTabSz="914342" rtl="0" eaLnBrk="1" fontAlgn="auto" latinLnBrk="0" hangingPunct="1">
                        <a:lnSpc>
                          <a:spcPct val="100000"/>
                        </a:lnSpc>
                        <a:spcBef>
                          <a:spcPts val="0"/>
                        </a:spcBef>
                        <a:spcAft>
                          <a:spcPts val="200"/>
                        </a:spcAft>
                        <a:buClrTx/>
                        <a:buSzTx/>
                        <a:buFontTx/>
                        <a:buNone/>
                        <a:tabLst/>
                        <a:defRPr/>
                      </a:pPr>
                      <a:r>
                        <a:rPr lang="en-US" sz="1400" b="1" i="0" kern="12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4.2"</a:t>
                      </a:r>
                      <a:br>
                        <a:rPr lang="en-US" sz="1400" b="1" i="0" kern="12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br>
                      <a:r>
                        <a:rPr lang="en-US" sz="1400" b="1" i="0" kern="12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2016-2019)</a:t>
                      </a:r>
                    </a:p>
                  </a:txBody>
                  <a:tcPr marL="45720" marR="45720" marT="91440" marB="91440">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200"/>
                        </a:spcAft>
                      </a:pPr>
                      <a:r>
                        <a:rPr lang="en-US" sz="14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4.3"</a:t>
                      </a:r>
                      <a:br>
                        <a:rPr lang="en-US" sz="14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2019 onwards )</a:t>
                      </a:r>
                    </a:p>
                  </a:txBody>
                  <a:tcPr marL="45720" marR="45720" marT="91440" marB="91440">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342" rtl="0" eaLnBrk="1" fontAlgn="auto" latinLnBrk="0" hangingPunct="1">
                        <a:lnSpc>
                          <a:spcPct val="100000"/>
                        </a:lnSpc>
                        <a:spcBef>
                          <a:spcPts val="0"/>
                        </a:spcBef>
                        <a:spcAft>
                          <a:spcPts val="200"/>
                        </a:spcAft>
                        <a:buClrTx/>
                        <a:buSzTx/>
                        <a:buFontTx/>
                        <a:buNone/>
                        <a:tabLst/>
                        <a:defRPr/>
                      </a:pPr>
                      <a:r>
                        <a:rPr lang="en-US" sz="14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5.0"</a:t>
                      </a:r>
                      <a:br>
                        <a:rPr lang="en-US" sz="14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2018 onwards)</a:t>
                      </a:r>
                    </a:p>
                  </a:txBody>
                  <a:tcPr marL="45720" marR="45720" marT="91440" marB="91440">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88688">
                <a:tc>
                  <a:txBody>
                    <a:bodyPr/>
                    <a:lstStyle/>
                    <a:p>
                      <a:pPr algn="l" fontAlgn="b">
                        <a:spcAft>
                          <a:spcPts val="200"/>
                        </a:spcAft>
                      </a:pPr>
                      <a:r>
                        <a:rPr lang="en-US" sz="1100" b="1"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New Features</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Non communicating Webportal report</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Operational Dashboard</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Quality checks introduced for standard processes</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Implementation of new web reports including resource projection and logistics reports.</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Implementation of standard  field processes (e.g. Meter change, Troubleshoot)</a:t>
                      </a:r>
                      <a:r>
                        <a:rPr lang="en-US" sz="1100" b="0" i="0" u="none" strike="noStrike" baseline="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 in Android</a:t>
                      </a:r>
                      <a:endPar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endParaRP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GDPR implementation</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indent="-228600" algn="l" defTabSz="914342" rtl="0" eaLnBrk="1" fontAlgn="b" latinLnBrk="0" hangingPunct="1">
                        <a:lnSpc>
                          <a:spcPct val="100000"/>
                        </a:lnSpc>
                        <a:spcBef>
                          <a:spcPts val="0"/>
                        </a:spcBef>
                        <a:spcAft>
                          <a:spcPts val="200"/>
                        </a:spcAft>
                        <a:buClr>
                          <a:schemeClr val="bg1"/>
                        </a:buClr>
                        <a:buSzTx/>
                        <a:buFont typeface="Wingdings" pitchFamily="2" charset="2"/>
                        <a:buChar char="§"/>
                        <a:tabLst/>
                        <a:defRP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Scanning feature of QR codes</a:t>
                      </a:r>
                    </a:p>
                    <a:p>
                      <a:pPr marL="228600" marR="0" indent="-228600" algn="l" defTabSz="914342" rtl="0" eaLnBrk="1" fontAlgn="b" latinLnBrk="0" hangingPunct="1">
                        <a:lnSpc>
                          <a:spcPct val="100000"/>
                        </a:lnSpc>
                        <a:spcBef>
                          <a:spcPts val="0"/>
                        </a:spcBef>
                        <a:spcAft>
                          <a:spcPts val="200"/>
                        </a:spcAft>
                        <a:buClr>
                          <a:schemeClr val="bg1"/>
                        </a:buClr>
                        <a:buSzTx/>
                        <a:buFont typeface="Wingdings" pitchFamily="2" charset="2"/>
                        <a:buChar char="§"/>
                        <a:tabLst/>
                        <a:defRP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Meter value matrix</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MDM implementation – Advanced VEE, Event Management, Aggregation and Calculation, Automated Case schedule</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Real time analytics using ELK stack</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Self service reporting platform using Power BI</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Solar panel implementation</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Route optimization for field technicians using the solution for TSP.</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Enhanced security using fingerprint authentication in Android.</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Enhanced usability using contextual help in Android</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07269">
                <a:tc>
                  <a:txBody>
                    <a:bodyPr/>
                    <a:lstStyle/>
                    <a:p>
                      <a:pPr algn="l" fontAlgn="b">
                        <a:spcAft>
                          <a:spcPts val="200"/>
                        </a:spcAft>
                      </a:pPr>
                      <a:r>
                        <a:rPr lang="en-US" sz="1100" b="1"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Enhancements</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14342" rtl="0" eaLnBrk="1" fontAlgn="b" latinLnBrk="0" hangingPunct="1">
                        <a:lnSpc>
                          <a:spcPct val="100000"/>
                        </a:lnSpc>
                        <a:spcBef>
                          <a:spcPts val="0"/>
                        </a:spcBef>
                        <a:spcAft>
                          <a:spcPts val="200"/>
                        </a:spcAft>
                        <a:buClr>
                          <a:schemeClr val="bg1"/>
                        </a:buClr>
                        <a:buSzTx/>
                        <a:buFont typeface="Wingdings" pitchFamily="2" charset="2"/>
                        <a:buChar char="§"/>
                        <a:tabLst/>
                        <a:defRP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15-minute interval collection/delivery support</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Logistics process improvement</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Improvement of photo handling in android.</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Android process optimization</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Android Stepper GUI</a:t>
                      </a:r>
                    </a:p>
                    <a:p>
                      <a:pPr marL="228600" indent="-228600" algn="l" fontAlgn="b">
                        <a:spcAft>
                          <a:spcPts val="200"/>
                        </a:spcAft>
                        <a:buClr>
                          <a:schemeClr val="bg1"/>
                        </a:buClr>
                        <a:buFont typeface="Wingdings" pitchFamily="2" charset="2"/>
                        <a:buChar char="§"/>
                      </a:pPr>
                      <a:r>
                        <a:rPr lang="en-US" sz="1100" b="0"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SESP modules (WOM, AMM and MDM) offered as SaaS</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19792">
                <a:tc>
                  <a:txBody>
                    <a:bodyPr/>
                    <a:lstStyle/>
                    <a:p>
                      <a:pPr algn="l" fontAlgn="b">
                        <a:spcAft>
                          <a:spcPts val="200"/>
                        </a:spcAft>
                      </a:pPr>
                      <a:r>
                        <a:rPr lang="en-US" sz="1100" b="1" i="0" u="none" strike="noStrike"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Bug Fixes</a:t>
                      </a:r>
                    </a:p>
                  </a:txBody>
                  <a:tcPr marL="45720" marR="45720" marT="27432" marB="27432">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indent="-228600" algn="l" defTabSz="914342" rtl="0" eaLnBrk="1" fontAlgn="b" latinLnBrk="0" hangingPunct="1">
                        <a:lnSpc>
                          <a:spcPct val="100000"/>
                        </a:lnSpc>
                        <a:spcBef>
                          <a:spcPts val="0"/>
                        </a:spcBef>
                        <a:spcAft>
                          <a:spcPts val="200"/>
                        </a:spcAft>
                        <a:buClr>
                          <a:schemeClr val="bg1"/>
                        </a:buClr>
                        <a:buSzTx/>
                        <a:buFont typeface="Wingdings" pitchFamily="2" charset="2"/>
                        <a:buChar char="§"/>
                        <a:tabLst/>
                        <a:defRPr/>
                      </a:pPr>
                      <a:r>
                        <a:rPr lang="en-US" sz="1100" b="0" i="0" u="none" strike="noStrike" kern="12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Bugs reported by clients </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indent="-228600" algn="l" defTabSz="914342" rtl="0" eaLnBrk="1" fontAlgn="b" latinLnBrk="0" hangingPunct="1">
                        <a:lnSpc>
                          <a:spcPct val="100000"/>
                        </a:lnSpc>
                        <a:spcBef>
                          <a:spcPts val="0"/>
                        </a:spcBef>
                        <a:spcAft>
                          <a:spcPts val="200"/>
                        </a:spcAft>
                        <a:buClr>
                          <a:schemeClr val="bg1"/>
                        </a:buClr>
                        <a:buSzTx/>
                        <a:buFont typeface="Wingdings" pitchFamily="2" charset="2"/>
                        <a:buChar char="§"/>
                        <a:tabLst/>
                        <a:defRPr/>
                      </a:pPr>
                      <a:r>
                        <a:rPr lang="en-US" sz="1100" b="0" i="0" u="none" strike="noStrike" kern="12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Bugs reported by clients </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indent="-228600" algn="l" defTabSz="914342" rtl="0" eaLnBrk="1" fontAlgn="b" latinLnBrk="0" hangingPunct="1">
                        <a:lnSpc>
                          <a:spcPct val="100000"/>
                        </a:lnSpc>
                        <a:spcBef>
                          <a:spcPts val="0"/>
                        </a:spcBef>
                        <a:spcAft>
                          <a:spcPts val="200"/>
                        </a:spcAft>
                        <a:buClr>
                          <a:schemeClr val="bg1"/>
                        </a:buClr>
                        <a:buSzTx/>
                        <a:buFont typeface="Wingdings" pitchFamily="2" charset="2"/>
                        <a:buChar char="§"/>
                        <a:tabLst/>
                        <a:defRPr/>
                      </a:pPr>
                      <a:r>
                        <a:rPr lang="en-US" sz="1100" b="0" i="0" u="none" strike="noStrike" kern="1200" dirty="0">
                          <a:solidFill>
                            <a:schemeClr val="accent1">
                              <a:lumMod val="20000"/>
                              <a:lumOff val="80000"/>
                            </a:schemeClr>
                          </a:solidFill>
                          <a:latin typeface="Verdana" panose="020B0604030504040204" pitchFamily="34" charset="0"/>
                          <a:ea typeface="Verdana" panose="020B0604030504040204" pitchFamily="34" charset="0"/>
                          <a:cs typeface="Verdana" panose="020B0604030504040204" pitchFamily="34" charset="0"/>
                        </a:rPr>
                        <a:t>Bugs reported by clients </a:t>
                      </a:r>
                    </a:p>
                  </a:txBody>
                  <a:tcPr marL="45720" marR="45720" marT="27432" marB="27432">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21" name="Freeform 7"/>
          <p:cNvSpPr>
            <a:spLocks/>
          </p:cNvSpPr>
          <p:nvPr/>
        </p:nvSpPr>
        <p:spPr bwMode="auto">
          <a:xfrm>
            <a:off x="338808" y="1125383"/>
            <a:ext cx="9068710" cy="5491225"/>
          </a:xfrm>
          <a:custGeom>
            <a:avLst/>
            <a:gdLst>
              <a:gd name="connsiteX0" fmla="*/ 992 w 10000"/>
              <a:gd name="connsiteY0" fmla="*/ 10939 h 10939"/>
              <a:gd name="connsiteX1" fmla="*/ 316 w 10000"/>
              <a:gd name="connsiteY1" fmla="*/ 8168 h 10939"/>
              <a:gd name="connsiteX2" fmla="*/ 0 w 10000"/>
              <a:gd name="connsiteY2" fmla="*/ 7460 h 10939"/>
              <a:gd name="connsiteX3" fmla="*/ 0 w 10000"/>
              <a:gd name="connsiteY3" fmla="*/ 467 h 10939"/>
              <a:gd name="connsiteX4" fmla="*/ 208 w 10000"/>
              <a:gd name="connsiteY4" fmla="*/ 0 h 10939"/>
              <a:gd name="connsiteX5" fmla="*/ 4006 w 10000"/>
              <a:gd name="connsiteY5" fmla="*/ 0 h 10939"/>
              <a:gd name="connsiteX6" fmla="*/ 4165 w 10000"/>
              <a:gd name="connsiteY6" fmla="*/ 167 h 10939"/>
              <a:gd name="connsiteX7" fmla="*/ 4168 w 10000"/>
              <a:gd name="connsiteY7" fmla="*/ 167 h 10939"/>
              <a:gd name="connsiteX8" fmla="*/ 4371 w 10000"/>
              <a:gd name="connsiteY8" fmla="*/ 922 h 10939"/>
              <a:gd name="connsiteX9" fmla="*/ 9424 w 10000"/>
              <a:gd name="connsiteY9" fmla="*/ 922 h 10939"/>
              <a:gd name="connsiteX10" fmla="*/ 9424 w 10000"/>
              <a:gd name="connsiteY10" fmla="*/ 1221 h 10939"/>
              <a:gd name="connsiteX11" fmla="*/ 10000 w 10000"/>
              <a:gd name="connsiteY11" fmla="*/ 1221 h 10939"/>
              <a:gd name="connsiteX12" fmla="*/ 10000 w 10000"/>
              <a:gd name="connsiteY12" fmla="*/ 10000 h 10939"/>
              <a:gd name="connsiteX0" fmla="*/ 992 w 10000"/>
              <a:gd name="connsiteY0" fmla="*/ 10939 h 10939"/>
              <a:gd name="connsiteX1" fmla="*/ 275 w 10000"/>
              <a:gd name="connsiteY1" fmla="*/ 10939 h 10939"/>
              <a:gd name="connsiteX2" fmla="*/ 0 w 10000"/>
              <a:gd name="connsiteY2" fmla="*/ 7460 h 10939"/>
              <a:gd name="connsiteX3" fmla="*/ 0 w 10000"/>
              <a:gd name="connsiteY3" fmla="*/ 467 h 10939"/>
              <a:gd name="connsiteX4" fmla="*/ 208 w 10000"/>
              <a:gd name="connsiteY4" fmla="*/ 0 h 10939"/>
              <a:gd name="connsiteX5" fmla="*/ 4006 w 10000"/>
              <a:gd name="connsiteY5" fmla="*/ 0 h 10939"/>
              <a:gd name="connsiteX6" fmla="*/ 4165 w 10000"/>
              <a:gd name="connsiteY6" fmla="*/ 167 h 10939"/>
              <a:gd name="connsiteX7" fmla="*/ 4168 w 10000"/>
              <a:gd name="connsiteY7" fmla="*/ 167 h 10939"/>
              <a:gd name="connsiteX8" fmla="*/ 4371 w 10000"/>
              <a:gd name="connsiteY8" fmla="*/ 922 h 10939"/>
              <a:gd name="connsiteX9" fmla="*/ 9424 w 10000"/>
              <a:gd name="connsiteY9" fmla="*/ 922 h 10939"/>
              <a:gd name="connsiteX10" fmla="*/ 9424 w 10000"/>
              <a:gd name="connsiteY10" fmla="*/ 1221 h 10939"/>
              <a:gd name="connsiteX11" fmla="*/ 10000 w 10000"/>
              <a:gd name="connsiteY11" fmla="*/ 1221 h 10939"/>
              <a:gd name="connsiteX12" fmla="*/ 10000 w 10000"/>
              <a:gd name="connsiteY12" fmla="*/ 10000 h 10939"/>
              <a:gd name="connsiteX0" fmla="*/ 992 w 10000"/>
              <a:gd name="connsiteY0" fmla="*/ 10939 h 10939"/>
              <a:gd name="connsiteX1" fmla="*/ 275 w 10000"/>
              <a:gd name="connsiteY1" fmla="*/ 10939 h 10939"/>
              <a:gd name="connsiteX2" fmla="*/ 0 w 10000"/>
              <a:gd name="connsiteY2" fmla="*/ 10481 h 10939"/>
              <a:gd name="connsiteX3" fmla="*/ 0 w 10000"/>
              <a:gd name="connsiteY3" fmla="*/ 467 h 10939"/>
              <a:gd name="connsiteX4" fmla="*/ 208 w 10000"/>
              <a:gd name="connsiteY4" fmla="*/ 0 h 10939"/>
              <a:gd name="connsiteX5" fmla="*/ 4006 w 10000"/>
              <a:gd name="connsiteY5" fmla="*/ 0 h 10939"/>
              <a:gd name="connsiteX6" fmla="*/ 4165 w 10000"/>
              <a:gd name="connsiteY6" fmla="*/ 167 h 10939"/>
              <a:gd name="connsiteX7" fmla="*/ 4168 w 10000"/>
              <a:gd name="connsiteY7" fmla="*/ 167 h 10939"/>
              <a:gd name="connsiteX8" fmla="*/ 4371 w 10000"/>
              <a:gd name="connsiteY8" fmla="*/ 922 h 10939"/>
              <a:gd name="connsiteX9" fmla="*/ 9424 w 10000"/>
              <a:gd name="connsiteY9" fmla="*/ 922 h 10939"/>
              <a:gd name="connsiteX10" fmla="*/ 9424 w 10000"/>
              <a:gd name="connsiteY10" fmla="*/ 1221 h 10939"/>
              <a:gd name="connsiteX11" fmla="*/ 10000 w 10000"/>
              <a:gd name="connsiteY11" fmla="*/ 1221 h 10939"/>
              <a:gd name="connsiteX12" fmla="*/ 10000 w 10000"/>
              <a:gd name="connsiteY12" fmla="*/ 10000 h 10939"/>
              <a:gd name="connsiteX0" fmla="*/ 992 w 10000"/>
              <a:gd name="connsiteY0" fmla="*/ 11881 h 11881"/>
              <a:gd name="connsiteX1" fmla="*/ 275 w 10000"/>
              <a:gd name="connsiteY1" fmla="*/ 10939 h 11881"/>
              <a:gd name="connsiteX2" fmla="*/ 0 w 10000"/>
              <a:gd name="connsiteY2" fmla="*/ 10481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9424 w 10000"/>
              <a:gd name="connsiteY10" fmla="*/ 1221 h 11881"/>
              <a:gd name="connsiteX11" fmla="*/ 10000 w 10000"/>
              <a:gd name="connsiteY11" fmla="*/ 1221 h 11881"/>
              <a:gd name="connsiteX12" fmla="*/ 10000 w 10000"/>
              <a:gd name="connsiteY12" fmla="*/ 10000 h 11881"/>
              <a:gd name="connsiteX0" fmla="*/ 992 w 10000"/>
              <a:gd name="connsiteY0" fmla="*/ 11881 h 11881"/>
              <a:gd name="connsiteX1" fmla="*/ 275 w 10000"/>
              <a:gd name="connsiteY1" fmla="*/ 11881 h 11881"/>
              <a:gd name="connsiteX2" fmla="*/ 0 w 10000"/>
              <a:gd name="connsiteY2" fmla="*/ 10481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9424 w 10000"/>
              <a:gd name="connsiteY10" fmla="*/ 1221 h 11881"/>
              <a:gd name="connsiteX11" fmla="*/ 10000 w 10000"/>
              <a:gd name="connsiteY11" fmla="*/ 1221 h 11881"/>
              <a:gd name="connsiteX12" fmla="*/ 10000 w 10000"/>
              <a:gd name="connsiteY12"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9424 w 10000"/>
              <a:gd name="connsiteY10" fmla="*/ 1221 h 11881"/>
              <a:gd name="connsiteX11" fmla="*/ 10000 w 10000"/>
              <a:gd name="connsiteY11" fmla="*/ 1221 h 11881"/>
              <a:gd name="connsiteX12" fmla="*/ 10000 w 10000"/>
              <a:gd name="connsiteY12"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9424 w 10000"/>
              <a:gd name="connsiteY9" fmla="*/ 922 h 11881"/>
              <a:gd name="connsiteX10" fmla="*/ 10000 w 10000"/>
              <a:gd name="connsiteY10" fmla="*/ 1221 h 11881"/>
              <a:gd name="connsiteX11" fmla="*/ 10000 w 10000"/>
              <a:gd name="connsiteY11"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221 h 11881"/>
              <a:gd name="connsiteX11" fmla="*/ 10000 w 10000"/>
              <a:gd name="connsiteY11" fmla="*/ 10000 h 11881"/>
              <a:gd name="connsiteX0" fmla="*/ 992 w 10000"/>
              <a:gd name="connsiteY0" fmla="*/ 11881 h 11881"/>
              <a:gd name="connsiteX1" fmla="*/ 275 w 10000"/>
              <a:gd name="connsiteY1" fmla="*/ 11881 h 11881"/>
              <a:gd name="connsiteX2" fmla="*/ 0 w 10000"/>
              <a:gd name="connsiteY2" fmla="*/ 11435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0000 h 11881"/>
              <a:gd name="connsiteX0" fmla="*/ 992 w 10000"/>
              <a:gd name="connsiteY0" fmla="*/ 11881 h 11881"/>
              <a:gd name="connsiteX1" fmla="*/ 275 w 10000"/>
              <a:gd name="connsiteY1" fmla="*/ 11881 h 11881"/>
              <a:gd name="connsiteX2" fmla="*/ 0 w 10000"/>
              <a:gd name="connsiteY2" fmla="*/ 8283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0000 h 11881"/>
              <a:gd name="connsiteX0" fmla="*/ 992 w 10000"/>
              <a:gd name="connsiteY0" fmla="*/ 11881 h 11881"/>
              <a:gd name="connsiteX1" fmla="*/ 275 w 10000"/>
              <a:gd name="connsiteY1" fmla="*/ 9055 h 11881"/>
              <a:gd name="connsiteX2" fmla="*/ 0 w 10000"/>
              <a:gd name="connsiteY2" fmla="*/ 8283 h 11881"/>
              <a:gd name="connsiteX3" fmla="*/ 0 w 10000"/>
              <a:gd name="connsiteY3" fmla="*/ 467 h 11881"/>
              <a:gd name="connsiteX4" fmla="*/ 208 w 10000"/>
              <a:gd name="connsiteY4" fmla="*/ 0 h 11881"/>
              <a:gd name="connsiteX5" fmla="*/ 4006 w 10000"/>
              <a:gd name="connsiteY5" fmla="*/ 0 h 11881"/>
              <a:gd name="connsiteX6" fmla="*/ 4165 w 10000"/>
              <a:gd name="connsiteY6" fmla="*/ 167 h 11881"/>
              <a:gd name="connsiteX7" fmla="*/ 4168 w 10000"/>
              <a:gd name="connsiteY7" fmla="*/ 167 h 11881"/>
              <a:gd name="connsiteX8" fmla="*/ 4371 w 10000"/>
              <a:gd name="connsiteY8" fmla="*/ 922 h 11881"/>
              <a:gd name="connsiteX9" fmla="*/ 10000 w 10000"/>
              <a:gd name="connsiteY9" fmla="*/ 919 h 11881"/>
              <a:gd name="connsiteX10" fmla="*/ 10000 w 10000"/>
              <a:gd name="connsiteY10" fmla="*/ 10000 h 11881"/>
              <a:gd name="connsiteX0" fmla="*/ 992 w 10000"/>
              <a:gd name="connsiteY0" fmla="*/ 9055 h 10000"/>
              <a:gd name="connsiteX1" fmla="*/ 275 w 10000"/>
              <a:gd name="connsiteY1" fmla="*/ 9055 h 10000"/>
              <a:gd name="connsiteX2" fmla="*/ 0 w 10000"/>
              <a:gd name="connsiteY2" fmla="*/ 8283 h 10000"/>
              <a:gd name="connsiteX3" fmla="*/ 0 w 10000"/>
              <a:gd name="connsiteY3" fmla="*/ 467 h 10000"/>
              <a:gd name="connsiteX4" fmla="*/ 208 w 10000"/>
              <a:gd name="connsiteY4" fmla="*/ 0 h 10000"/>
              <a:gd name="connsiteX5" fmla="*/ 4006 w 10000"/>
              <a:gd name="connsiteY5" fmla="*/ 0 h 10000"/>
              <a:gd name="connsiteX6" fmla="*/ 4165 w 10000"/>
              <a:gd name="connsiteY6" fmla="*/ 167 h 10000"/>
              <a:gd name="connsiteX7" fmla="*/ 4168 w 10000"/>
              <a:gd name="connsiteY7" fmla="*/ 167 h 10000"/>
              <a:gd name="connsiteX8" fmla="*/ 4371 w 10000"/>
              <a:gd name="connsiteY8" fmla="*/ 922 h 10000"/>
              <a:gd name="connsiteX9" fmla="*/ 10000 w 10000"/>
              <a:gd name="connsiteY9" fmla="*/ 919 h 10000"/>
              <a:gd name="connsiteX10" fmla="*/ 10000 w 10000"/>
              <a:gd name="connsiteY10"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992" y="9055"/>
                </a:moveTo>
                <a:lnTo>
                  <a:pt x="275" y="9055"/>
                </a:lnTo>
                <a:cubicBezTo>
                  <a:pt x="100" y="9055"/>
                  <a:pt x="0" y="8674"/>
                  <a:pt x="0" y="8283"/>
                </a:cubicBezTo>
                <a:lnTo>
                  <a:pt x="0" y="467"/>
                </a:lnTo>
                <a:cubicBezTo>
                  <a:pt x="0" y="207"/>
                  <a:pt x="92" y="0"/>
                  <a:pt x="208" y="0"/>
                </a:cubicBezTo>
                <a:lnTo>
                  <a:pt x="4006" y="0"/>
                </a:lnTo>
                <a:cubicBezTo>
                  <a:pt x="4067" y="0"/>
                  <a:pt x="4126" y="63"/>
                  <a:pt x="4165" y="167"/>
                </a:cubicBezTo>
                <a:lnTo>
                  <a:pt x="4168" y="167"/>
                </a:lnTo>
                <a:cubicBezTo>
                  <a:pt x="4236" y="419"/>
                  <a:pt x="4303" y="670"/>
                  <a:pt x="4371" y="922"/>
                </a:cubicBezTo>
                <a:lnTo>
                  <a:pt x="10000" y="919"/>
                </a:lnTo>
                <a:lnTo>
                  <a:pt x="10000" y="10000"/>
                </a:lnTo>
              </a:path>
            </a:pathLst>
          </a:custGeom>
          <a:noFill/>
          <a:ln w="9525" cap="flat">
            <a:solidFill>
              <a:schemeClr val="bg1">
                <a:lumMod val="65000"/>
              </a:schemeClr>
            </a:solidFill>
            <a:prstDash val="solid"/>
            <a:miter lim="800000"/>
            <a:headEnd type="diamond"/>
            <a:tailEnd type="diamo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0471654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Rectangle 46"/>
          <p:cNvSpPr/>
          <p:nvPr/>
        </p:nvSpPr>
        <p:spPr>
          <a:xfrm>
            <a:off x="733425" y="3783419"/>
            <a:ext cx="2068846" cy="1369606"/>
          </a:xfrm>
          <a:prstGeom prst="rect">
            <a:avLst/>
          </a:pr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1">
            <a:spAutoFit/>
          </a:bodyPr>
          <a:lstStyle/>
          <a:p>
            <a:pPr lvl="0" algn="l" defTabSz="488950">
              <a:spcBef>
                <a:spcPct val="0"/>
              </a:spcBef>
              <a:spcAft>
                <a:spcPts val="200"/>
              </a:spcAft>
            </a:pPr>
            <a:r>
              <a:rPr lang="en-US" sz="1200" b="1" kern="1200" dirty="0">
                <a:solidFill>
                  <a:schemeClr val="accent1">
                    <a:lumMod val="75000"/>
                  </a:schemeClr>
                </a:solidFill>
                <a:latin typeface="Arial" pitchFamily="34" charset="0"/>
                <a:cs typeface="Arial" pitchFamily="34" charset="0"/>
              </a:rPr>
              <a:t>SESP Version 3.10</a:t>
            </a:r>
          </a:p>
          <a:p>
            <a:pPr lvl="0" algn="l" defTabSz="488950">
              <a:spcBef>
                <a:spcPct val="0"/>
              </a:spcBef>
              <a:spcAft>
                <a:spcPts val="200"/>
              </a:spcAft>
            </a:pPr>
            <a:r>
              <a:rPr lang="en-US" sz="1200" b="1" kern="1200" dirty="0">
                <a:solidFill>
                  <a:schemeClr val="tx2"/>
                </a:solidFill>
                <a:latin typeface="Arial" pitchFamily="34" charset="0"/>
                <a:cs typeface="Arial" pitchFamily="34" charset="0"/>
              </a:rPr>
              <a:t>Enhancements –</a:t>
            </a:r>
          </a:p>
          <a:p>
            <a:pPr marL="228600" lvl="0" indent="-228600" algn="l" defTabSz="488950">
              <a:spcBef>
                <a:spcPct val="0"/>
              </a:spcBef>
              <a:spcAft>
                <a:spcPts val="200"/>
              </a:spcAft>
              <a:buClr>
                <a:schemeClr val="accent1"/>
              </a:buClr>
              <a:buFont typeface="Wingdings" pitchFamily="2" charset="2"/>
              <a:buChar char="§"/>
            </a:pPr>
            <a:r>
              <a:rPr lang="en-US" sz="1200" kern="1200" dirty="0">
                <a:solidFill>
                  <a:schemeClr val="tx2"/>
                </a:solidFill>
                <a:latin typeface="Arial" pitchFamily="34" charset="0"/>
                <a:cs typeface="Arial" pitchFamily="34" charset="0"/>
              </a:rPr>
              <a:t>In User Interface </a:t>
            </a:r>
          </a:p>
          <a:p>
            <a:pPr marL="228600" lvl="0" indent="-228600" algn="l" defTabSz="488950">
              <a:spcBef>
                <a:spcPct val="0"/>
              </a:spcBef>
              <a:spcAft>
                <a:spcPts val="200"/>
              </a:spcAft>
              <a:buClr>
                <a:schemeClr val="accent1"/>
              </a:buClr>
              <a:buFont typeface="Wingdings" pitchFamily="2" charset="2"/>
              <a:buChar char="§"/>
            </a:pPr>
            <a:r>
              <a:rPr lang="en-US" sz="1200" kern="1200" dirty="0">
                <a:solidFill>
                  <a:schemeClr val="tx2"/>
                </a:solidFill>
                <a:latin typeface="Arial" pitchFamily="34" charset="0"/>
                <a:cs typeface="Arial" pitchFamily="34" charset="0"/>
              </a:rPr>
              <a:t>Meter Value </a:t>
            </a:r>
            <a:br>
              <a:rPr lang="en-US" sz="1200" kern="1200" dirty="0">
                <a:solidFill>
                  <a:schemeClr val="tx2"/>
                </a:solidFill>
                <a:latin typeface="Arial" pitchFamily="34" charset="0"/>
                <a:cs typeface="Arial" pitchFamily="34" charset="0"/>
              </a:rPr>
            </a:br>
            <a:r>
              <a:rPr lang="en-US" sz="1200" kern="1200" dirty="0">
                <a:solidFill>
                  <a:schemeClr val="tx2"/>
                </a:solidFill>
                <a:latin typeface="Arial" pitchFamily="34" charset="0"/>
                <a:cs typeface="Arial" pitchFamily="34" charset="0"/>
              </a:rPr>
              <a:t>Collection/</a:t>
            </a:r>
            <a:br>
              <a:rPr lang="en-US" sz="1200" kern="1200" dirty="0">
                <a:solidFill>
                  <a:schemeClr val="tx2"/>
                </a:solidFill>
                <a:latin typeface="Arial" pitchFamily="34" charset="0"/>
                <a:cs typeface="Arial" pitchFamily="34" charset="0"/>
              </a:rPr>
            </a:br>
            <a:r>
              <a:rPr lang="en-US" sz="1200" kern="1200" dirty="0">
                <a:solidFill>
                  <a:schemeClr val="tx2"/>
                </a:solidFill>
                <a:latin typeface="Arial" pitchFamily="34" charset="0"/>
                <a:cs typeface="Arial" pitchFamily="34" charset="0"/>
              </a:rPr>
              <a:t>Delivery Interface &amp; </a:t>
            </a:r>
            <a:br>
              <a:rPr lang="en-US" sz="1200" kern="1200" dirty="0">
                <a:solidFill>
                  <a:schemeClr val="tx2"/>
                </a:solidFill>
                <a:latin typeface="Arial" pitchFamily="34" charset="0"/>
                <a:cs typeface="Arial" pitchFamily="34" charset="0"/>
              </a:rPr>
            </a:br>
            <a:r>
              <a:rPr lang="en-US" sz="1200" kern="1200" dirty="0">
                <a:solidFill>
                  <a:schemeClr val="tx2"/>
                </a:solidFill>
                <a:latin typeface="Arial" pitchFamily="34" charset="0"/>
                <a:cs typeface="Arial" pitchFamily="34" charset="0"/>
              </a:rPr>
              <a:t>search Options </a:t>
            </a:r>
          </a:p>
        </p:txBody>
      </p:sp>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1009" name="think-cell Slide" r:id="rId5" imgW="360" imgH="360" progId="">
                  <p:embed/>
                </p:oleObj>
              </mc:Choice>
              <mc:Fallback>
                <p:oleObj name="think-cell Slide" r:id="rId5" imgW="360" imgH="360" progId="">
                  <p:embed/>
                  <p:pic>
                    <p:nvPicPr>
                      <p:cNvPr id="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dirty="0"/>
              <a:t>Release Summary </a:t>
            </a:r>
          </a:p>
        </p:txBody>
      </p:sp>
      <p:sp>
        <p:nvSpPr>
          <p:cNvPr id="380932" name="AutoShape 4" descr="http://www.istockphoto.com/asset-detail/assets/adp-simplified.svg#maximiz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grpSp>
        <p:nvGrpSpPr>
          <p:cNvPr id="80" name="Group 79"/>
          <p:cNvGrpSpPr/>
          <p:nvPr/>
        </p:nvGrpSpPr>
        <p:grpSpPr>
          <a:xfrm>
            <a:off x="1552575" y="1372116"/>
            <a:ext cx="5867400" cy="5179151"/>
            <a:chOff x="1447800" y="1372116"/>
            <a:chExt cx="5867400" cy="5179151"/>
          </a:xfrm>
        </p:grpSpPr>
        <p:sp>
          <p:nvSpPr>
            <p:cNvPr id="380935" name="Freeform 7"/>
            <p:cNvSpPr>
              <a:spLocks/>
            </p:cNvSpPr>
            <p:nvPr/>
          </p:nvSpPr>
          <p:spPr bwMode="auto">
            <a:xfrm>
              <a:off x="1447800" y="1372116"/>
              <a:ext cx="5818137" cy="5126406"/>
            </a:xfrm>
            <a:custGeom>
              <a:avLst/>
              <a:gdLst/>
              <a:ahLst/>
              <a:cxnLst>
                <a:cxn ang="0">
                  <a:pos x="2024" y="0"/>
                </a:cxn>
                <a:cxn ang="0">
                  <a:pos x="1384" y="744"/>
                </a:cxn>
                <a:cxn ang="0">
                  <a:pos x="1532" y="764"/>
                </a:cxn>
                <a:cxn ang="0">
                  <a:pos x="0" y="1716"/>
                </a:cxn>
                <a:cxn ang="0">
                  <a:pos x="2188" y="852"/>
                </a:cxn>
                <a:cxn ang="0">
                  <a:pos x="2400" y="880"/>
                </a:cxn>
                <a:cxn ang="0">
                  <a:pos x="2024" y="0"/>
                </a:cxn>
              </a:cxnLst>
              <a:rect l="0" t="0" r="r" b="b"/>
              <a:pathLst>
                <a:path w="2400" h="2115">
                  <a:moveTo>
                    <a:pt x="2024" y="0"/>
                  </a:moveTo>
                  <a:cubicBezTo>
                    <a:pt x="1820" y="244"/>
                    <a:pt x="1732" y="447"/>
                    <a:pt x="1384" y="744"/>
                  </a:cubicBezTo>
                  <a:cubicBezTo>
                    <a:pt x="1532" y="764"/>
                    <a:pt x="1532" y="764"/>
                    <a:pt x="1532" y="764"/>
                  </a:cubicBezTo>
                  <a:cubicBezTo>
                    <a:pt x="1376" y="1461"/>
                    <a:pt x="824" y="2011"/>
                    <a:pt x="0" y="1716"/>
                  </a:cubicBezTo>
                  <a:cubicBezTo>
                    <a:pt x="931" y="2115"/>
                    <a:pt x="1755" y="1709"/>
                    <a:pt x="2188" y="852"/>
                  </a:cubicBezTo>
                  <a:cubicBezTo>
                    <a:pt x="2400" y="880"/>
                    <a:pt x="2400" y="880"/>
                    <a:pt x="2400" y="880"/>
                  </a:cubicBezTo>
                  <a:cubicBezTo>
                    <a:pt x="2291" y="577"/>
                    <a:pt x="2167" y="283"/>
                    <a:pt x="2024" y="0"/>
                  </a:cubicBezTo>
                  <a:close/>
                </a:path>
              </a:pathLst>
            </a:custGeom>
            <a:solidFill>
              <a:srgbClr val="6EAF27"/>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0936" name="Freeform 8"/>
            <p:cNvSpPr>
              <a:spLocks/>
            </p:cNvSpPr>
            <p:nvPr/>
          </p:nvSpPr>
          <p:spPr bwMode="auto">
            <a:xfrm>
              <a:off x="1447800" y="3426161"/>
              <a:ext cx="5346036" cy="3125106"/>
            </a:xfrm>
            <a:custGeom>
              <a:avLst/>
              <a:gdLst/>
              <a:ahLst/>
              <a:cxnLst>
                <a:cxn ang="0">
                  <a:pos x="0" y="864"/>
                </a:cxn>
                <a:cxn ang="0">
                  <a:pos x="2188" y="0"/>
                </a:cxn>
                <a:cxn ang="0">
                  <a:pos x="2205" y="41"/>
                </a:cxn>
                <a:cxn ang="0">
                  <a:pos x="0" y="864"/>
                </a:cxn>
              </a:cxnLst>
              <a:rect l="0" t="0" r="r" b="b"/>
              <a:pathLst>
                <a:path w="2205" h="1289">
                  <a:moveTo>
                    <a:pt x="0" y="864"/>
                  </a:moveTo>
                  <a:cubicBezTo>
                    <a:pt x="931" y="1263"/>
                    <a:pt x="1755" y="857"/>
                    <a:pt x="2188" y="0"/>
                  </a:cubicBezTo>
                  <a:cubicBezTo>
                    <a:pt x="2205" y="41"/>
                    <a:pt x="2205" y="41"/>
                    <a:pt x="2205" y="41"/>
                  </a:cubicBezTo>
                  <a:cubicBezTo>
                    <a:pt x="1677" y="1009"/>
                    <a:pt x="917" y="1289"/>
                    <a:pt x="0" y="864"/>
                  </a:cubicBezTo>
                  <a:close/>
                </a:path>
              </a:pathLst>
            </a:custGeom>
            <a:solidFill>
              <a:schemeClr val="accent1"/>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0937" name="Freeform 9"/>
            <p:cNvSpPr>
              <a:spLocks/>
            </p:cNvSpPr>
            <p:nvPr/>
          </p:nvSpPr>
          <p:spPr bwMode="auto">
            <a:xfrm>
              <a:off x="4802799" y="3164452"/>
              <a:ext cx="2512401" cy="446444"/>
            </a:xfrm>
            <a:custGeom>
              <a:avLst/>
              <a:gdLst/>
              <a:ahLst/>
              <a:cxnLst>
                <a:cxn ang="0">
                  <a:pos x="0" y="0"/>
                </a:cxn>
                <a:cxn ang="0">
                  <a:pos x="92" y="111"/>
                </a:cxn>
                <a:cxn ang="0">
                  <a:pos x="2448" y="435"/>
                </a:cxn>
                <a:cxn ang="0">
                  <a:pos x="2400" y="321"/>
                </a:cxn>
                <a:cxn ang="0">
                  <a:pos x="0" y="0"/>
                </a:cxn>
              </a:cxnLst>
              <a:rect l="0" t="0" r="r" b="b"/>
              <a:pathLst>
                <a:path w="2448" h="435">
                  <a:moveTo>
                    <a:pt x="0" y="0"/>
                  </a:moveTo>
                  <a:lnTo>
                    <a:pt x="92" y="111"/>
                  </a:lnTo>
                  <a:lnTo>
                    <a:pt x="2448" y="435"/>
                  </a:lnTo>
                  <a:lnTo>
                    <a:pt x="2400" y="321"/>
                  </a:lnTo>
                  <a:lnTo>
                    <a:pt x="0" y="0"/>
                  </a:lnTo>
                  <a:close/>
                </a:path>
              </a:pathLst>
            </a:custGeom>
            <a:solidFill>
              <a:srgbClr val="49741A"/>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6"/>
            <p:cNvSpPr/>
            <p:nvPr/>
          </p:nvSpPr>
          <p:spPr bwMode="auto">
            <a:xfrm>
              <a:off x="6347052" y="1376363"/>
              <a:ext cx="962025" cy="2252662"/>
            </a:xfrm>
            <a:custGeom>
              <a:avLst/>
              <a:gdLst>
                <a:gd name="connsiteX0" fmla="*/ 0 w 962025"/>
                <a:gd name="connsiteY0" fmla="*/ 0 h 2252662"/>
                <a:gd name="connsiteX1" fmla="*/ 962025 w 962025"/>
                <a:gd name="connsiteY1" fmla="*/ 2252662 h 2252662"/>
                <a:gd name="connsiteX2" fmla="*/ 100012 w 962025"/>
                <a:gd name="connsiteY2" fmla="*/ 52387 h 2252662"/>
                <a:gd name="connsiteX3" fmla="*/ 0 w 962025"/>
                <a:gd name="connsiteY3" fmla="*/ 0 h 2252662"/>
                <a:gd name="connsiteX0" fmla="*/ 0 w 962025"/>
                <a:gd name="connsiteY0" fmla="*/ 0 h 2252662"/>
                <a:gd name="connsiteX1" fmla="*/ 962025 w 962025"/>
                <a:gd name="connsiteY1" fmla="*/ 2252662 h 2252662"/>
                <a:gd name="connsiteX2" fmla="*/ 100012 w 962025"/>
                <a:gd name="connsiteY2" fmla="*/ 52387 h 2252662"/>
                <a:gd name="connsiteX3" fmla="*/ 0 w 962025"/>
                <a:gd name="connsiteY3" fmla="*/ 0 h 2252662"/>
                <a:gd name="connsiteX0" fmla="*/ 0 w 962025"/>
                <a:gd name="connsiteY0" fmla="*/ 0 h 2252662"/>
                <a:gd name="connsiteX1" fmla="*/ 962025 w 962025"/>
                <a:gd name="connsiteY1" fmla="*/ 2252662 h 2252662"/>
                <a:gd name="connsiteX2" fmla="*/ 100012 w 962025"/>
                <a:gd name="connsiteY2" fmla="*/ 52387 h 2252662"/>
                <a:gd name="connsiteX3" fmla="*/ 0 w 962025"/>
                <a:gd name="connsiteY3" fmla="*/ 0 h 2252662"/>
                <a:gd name="connsiteX0" fmla="*/ 0 w 962025"/>
                <a:gd name="connsiteY0" fmla="*/ 0 h 2252662"/>
                <a:gd name="connsiteX1" fmla="*/ 962025 w 962025"/>
                <a:gd name="connsiteY1" fmla="*/ 2252662 h 2252662"/>
                <a:gd name="connsiteX2" fmla="*/ 100012 w 962025"/>
                <a:gd name="connsiteY2" fmla="*/ 52387 h 2252662"/>
                <a:gd name="connsiteX3" fmla="*/ 0 w 962025"/>
                <a:gd name="connsiteY3" fmla="*/ 0 h 2252662"/>
                <a:gd name="connsiteX0" fmla="*/ 0 w 962025"/>
                <a:gd name="connsiteY0" fmla="*/ 0 h 2252662"/>
                <a:gd name="connsiteX1" fmla="*/ 962025 w 962025"/>
                <a:gd name="connsiteY1" fmla="*/ 2252662 h 2252662"/>
                <a:gd name="connsiteX2" fmla="*/ 100012 w 962025"/>
                <a:gd name="connsiteY2" fmla="*/ 52387 h 2252662"/>
                <a:gd name="connsiteX3" fmla="*/ 0 w 962025"/>
                <a:gd name="connsiteY3" fmla="*/ 0 h 2252662"/>
              </a:gdLst>
              <a:ahLst/>
              <a:cxnLst>
                <a:cxn ang="0">
                  <a:pos x="connsiteX0" y="connsiteY0"/>
                </a:cxn>
                <a:cxn ang="0">
                  <a:pos x="connsiteX1" y="connsiteY1"/>
                </a:cxn>
                <a:cxn ang="0">
                  <a:pos x="connsiteX2" y="connsiteY2"/>
                </a:cxn>
                <a:cxn ang="0">
                  <a:pos x="connsiteX3" y="connsiteY3"/>
                </a:cxn>
              </a:cxnLst>
              <a:rect l="l" t="t" r="r" b="b"/>
              <a:pathLst>
                <a:path w="962025" h="2252662">
                  <a:moveTo>
                    <a:pt x="0" y="0"/>
                  </a:moveTo>
                  <a:cubicBezTo>
                    <a:pt x="430213" y="817562"/>
                    <a:pt x="646113" y="1439863"/>
                    <a:pt x="962025" y="2252662"/>
                  </a:cubicBezTo>
                  <a:cubicBezTo>
                    <a:pt x="722312" y="1514475"/>
                    <a:pt x="456277" y="804862"/>
                    <a:pt x="100012" y="52387"/>
                  </a:cubicBezTo>
                  <a:lnTo>
                    <a:pt x="0" y="0"/>
                  </a:lnTo>
                  <a:close/>
                </a:path>
              </a:pathLst>
            </a:custGeom>
            <a:solidFill>
              <a:schemeClr val="accent1">
                <a:lumMod val="40000"/>
                <a:lumOff val="6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18" name="Freeform 17"/>
            <p:cNvSpPr/>
            <p:nvPr/>
          </p:nvSpPr>
          <p:spPr bwMode="auto">
            <a:xfrm>
              <a:off x="5257799" y="1393372"/>
              <a:ext cx="2002971" cy="2253344"/>
            </a:xfrm>
            <a:custGeom>
              <a:avLst/>
              <a:gdLst>
                <a:gd name="connsiteX0" fmla="*/ 598715 w 1524000"/>
                <a:gd name="connsiteY0" fmla="*/ 0 h 2122715"/>
                <a:gd name="connsiteX1" fmla="*/ 598715 w 1524000"/>
                <a:gd name="connsiteY1" fmla="*/ 0 h 2122715"/>
                <a:gd name="connsiteX2" fmla="*/ 0 w 1524000"/>
                <a:gd name="connsiteY2" fmla="*/ 783772 h 2122715"/>
                <a:gd name="connsiteX3" fmla="*/ 76200 w 1524000"/>
                <a:gd name="connsiteY3" fmla="*/ 881743 h 2122715"/>
                <a:gd name="connsiteX4" fmla="*/ 174172 w 1524000"/>
                <a:gd name="connsiteY4" fmla="*/ 979715 h 2122715"/>
                <a:gd name="connsiteX5" fmla="*/ 1524000 w 1524000"/>
                <a:gd name="connsiteY5" fmla="*/ 2122715 h 2122715"/>
                <a:gd name="connsiteX6" fmla="*/ 598715 w 1524000"/>
                <a:gd name="connsiteY6" fmla="*/ 0 h 2122715"/>
                <a:gd name="connsiteX0" fmla="*/ 678543 w 1603828"/>
                <a:gd name="connsiteY0" fmla="*/ 0 h 2122715"/>
                <a:gd name="connsiteX1" fmla="*/ 678543 w 1603828"/>
                <a:gd name="connsiteY1" fmla="*/ 0 h 2122715"/>
                <a:gd name="connsiteX2" fmla="*/ 79828 w 1603828"/>
                <a:gd name="connsiteY2" fmla="*/ 783772 h 2122715"/>
                <a:gd name="connsiteX3" fmla="*/ 254000 w 1603828"/>
                <a:gd name="connsiteY3" fmla="*/ 979715 h 2122715"/>
                <a:gd name="connsiteX4" fmla="*/ 1603828 w 1603828"/>
                <a:gd name="connsiteY4" fmla="*/ 2122715 h 2122715"/>
                <a:gd name="connsiteX5" fmla="*/ 678543 w 1603828"/>
                <a:gd name="connsiteY5" fmla="*/ 0 h 2122715"/>
                <a:gd name="connsiteX0" fmla="*/ 598715 w 1524000"/>
                <a:gd name="connsiteY0" fmla="*/ 0 h 2253344"/>
                <a:gd name="connsiteX1" fmla="*/ 598715 w 1524000"/>
                <a:gd name="connsiteY1" fmla="*/ 0 h 2253344"/>
                <a:gd name="connsiteX2" fmla="*/ 0 w 1524000"/>
                <a:gd name="connsiteY2" fmla="*/ 783772 h 2253344"/>
                <a:gd name="connsiteX3" fmla="*/ 1524000 w 1524000"/>
                <a:gd name="connsiteY3" fmla="*/ 2122715 h 2253344"/>
                <a:gd name="connsiteX4" fmla="*/ 598715 w 1524000"/>
                <a:gd name="connsiteY4" fmla="*/ 0 h 2253344"/>
                <a:gd name="connsiteX0" fmla="*/ 598715 w 1524000"/>
                <a:gd name="connsiteY0" fmla="*/ 0 h 2253344"/>
                <a:gd name="connsiteX1" fmla="*/ 598715 w 1524000"/>
                <a:gd name="connsiteY1" fmla="*/ 0 h 2253344"/>
                <a:gd name="connsiteX2" fmla="*/ 0 w 1524000"/>
                <a:gd name="connsiteY2" fmla="*/ 783772 h 2253344"/>
                <a:gd name="connsiteX3" fmla="*/ 1524000 w 1524000"/>
                <a:gd name="connsiteY3" fmla="*/ 2122715 h 2253344"/>
                <a:gd name="connsiteX4" fmla="*/ 598715 w 1524000"/>
                <a:gd name="connsiteY4" fmla="*/ 0 h 2253344"/>
                <a:gd name="connsiteX0" fmla="*/ 598715 w 1524000"/>
                <a:gd name="connsiteY0" fmla="*/ 0 h 2253344"/>
                <a:gd name="connsiteX1" fmla="*/ 598715 w 1524000"/>
                <a:gd name="connsiteY1" fmla="*/ 0 h 2253344"/>
                <a:gd name="connsiteX2" fmla="*/ 0 w 1524000"/>
                <a:gd name="connsiteY2" fmla="*/ 783772 h 2253344"/>
                <a:gd name="connsiteX3" fmla="*/ 1524000 w 1524000"/>
                <a:gd name="connsiteY3" fmla="*/ 2122715 h 2253344"/>
                <a:gd name="connsiteX4" fmla="*/ 598715 w 1524000"/>
                <a:gd name="connsiteY4" fmla="*/ 0 h 2253344"/>
                <a:gd name="connsiteX0" fmla="*/ 1077686 w 2002971"/>
                <a:gd name="connsiteY0" fmla="*/ 0 h 2253344"/>
                <a:gd name="connsiteX1" fmla="*/ 1077686 w 2002971"/>
                <a:gd name="connsiteY1" fmla="*/ 0 h 2253344"/>
                <a:gd name="connsiteX2" fmla="*/ 0 w 2002971"/>
                <a:gd name="connsiteY2" fmla="*/ 1349828 h 2253344"/>
                <a:gd name="connsiteX3" fmla="*/ 2002971 w 2002971"/>
                <a:gd name="connsiteY3" fmla="*/ 2122715 h 2253344"/>
                <a:gd name="connsiteX4" fmla="*/ 1077686 w 2002971"/>
                <a:gd name="connsiteY4" fmla="*/ 0 h 2253344"/>
                <a:gd name="connsiteX0" fmla="*/ 1077686 w 2002971"/>
                <a:gd name="connsiteY0" fmla="*/ 0 h 2253344"/>
                <a:gd name="connsiteX1" fmla="*/ 1077686 w 2002971"/>
                <a:gd name="connsiteY1" fmla="*/ 0 h 2253344"/>
                <a:gd name="connsiteX2" fmla="*/ 0 w 2002971"/>
                <a:gd name="connsiteY2" fmla="*/ 1349828 h 2253344"/>
                <a:gd name="connsiteX3" fmla="*/ 2002971 w 2002971"/>
                <a:gd name="connsiteY3" fmla="*/ 2122715 h 2253344"/>
                <a:gd name="connsiteX4" fmla="*/ 1077686 w 2002971"/>
                <a:gd name="connsiteY4" fmla="*/ 0 h 2253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2971" h="2253344">
                  <a:moveTo>
                    <a:pt x="1077686" y="0"/>
                  </a:moveTo>
                  <a:lnTo>
                    <a:pt x="1077686" y="0"/>
                  </a:lnTo>
                  <a:cubicBezTo>
                    <a:pt x="718457" y="449943"/>
                    <a:pt x="435429" y="861785"/>
                    <a:pt x="0" y="1349828"/>
                  </a:cubicBezTo>
                  <a:cubicBezTo>
                    <a:pt x="588962" y="1494064"/>
                    <a:pt x="1903185" y="2253344"/>
                    <a:pt x="2002971" y="2122715"/>
                  </a:cubicBezTo>
                  <a:lnTo>
                    <a:pt x="1077686" y="0"/>
                  </a:lnTo>
                  <a:close/>
                </a:path>
              </a:pathLst>
            </a:custGeom>
            <a:gradFill>
              <a:gsLst>
                <a:gs pos="50000">
                  <a:schemeClr val="bg1">
                    <a:alpha val="51000"/>
                  </a:schemeClr>
                </a:gs>
                <a:gs pos="100000">
                  <a:schemeClr val="bg1">
                    <a:alpha val="0"/>
                  </a:schemeClr>
                </a:gs>
              </a:gsLst>
              <a:lin ang="5400000" scaled="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19" name="Freeform 18"/>
            <p:cNvSpPr/>
            <p:nvPr/>
          </p:nvSpPr>
          <p:spPr bwMode="auto">
            <a:xfrm>
              <a:off x="4571999" y="3314700"/>
              <a:ext cx="2181225" cy="1333500"/>
            </a:xfrm>
            <a:custGeom>
              <a:avLst/>
              <a:gdLst>
                <a:gd name="connsiteX0" fmla="*/ 238125 w 1847850"/>
                <a:gd name="connsiteY0" fmla="*/ 0 h 971550"/>
                <a:gd name="connsiteX1" fmla="*/ 1847850 w 1847850"/>
                <a:gd name="connsiteY1" fmla="*/ 209550 h 971550"/>
                <a:gd name="connsiteX2" fmla="*/ 1314450 w 1847850"/>
                <a:gd name="connsiteY2" fmla="*/ 971550 h 971550"/>
                <a:gd name="connsiteX3" fmla="*/ 0 w 1847850"/>
                <a:gd name="connsiteY3" fmla="*/ 685800 h 971550"/>
                <a:gd name="connsiteX4" fmla="*/ 238125 w 1847850"/>
                <a:gd name="connsiteY4" fmla="*/ 0 h 971550"/>
                <a:gd name="connsiteX0" fmla="*/ 571500 w 2181225"/>
                <a:gd name="connsiteY0" fmla="*/ 0 h 1333500"/>
                <a:gd name="connsiteX1" fmla="*/ 2181225 w 2181225"/>
                <a:gd name="connsiteY1" fmla="*/ 209550 h 1333500"/>
                <a:gd name="connsiteX2" fmla="*/ 1647825 w 2181225"/>
                <a:gd name="connsiteY2" fmla="*/ 971550 h 1333500"/>
                <a:gd name="connsiteX3" fmla="*/ 0 w 2181225"/>
                <a:gd name="connsiteY3" fmla="*/ 1333500 h 1333500"/>
                <a:gd name="connsiteX4" fmla="*/ 571500 w 2181225"/>
                <a:gd name="connsiteY4" fmla="*/ 0 h 1333500"/>
                <a:gd name="connsiteX0" fmla="*/ 571500 w 2181225"/>
                <a:gd name="connsiteY0" fmla="*/ 0 h 1333500"/>
                <a:gd name="connsiteX1" fmla="*/ 2181225 w 2181225"/>
                <a:gd name="connsiteY1" fmla="*/ 209550 h 1333500"/>
                <a:gd name="connsiteX2" fmla="*/ 1647825 w 2181225"/>
                <a:gd name="connsiteY2" fmla="*/ 971550 h 1333500"/>
                <a:gd name="connsiteX3" fmla="*/ 0 w 2181225"/>
                <a:gd name="connsiteY3" fmla="*/ 1333500 h 1333500"/>
                <a:gd name="connsiteX4" fmla="*/ 571500 w 2181225"/>
                <a:gd name="connsiteY4" fmla="*/ 0 h 1333500"/>
                <a:gd name="connsiteX0" fmla="*/ 571500 w 2181225"/>
                <a:gd name="connsiteY0" fmla="*/ 0 h 1333500"/>
                <a:gd name="connsiteX1" fmla="*/ 2181225 w 2181225"/>
                <a:gd name="connsiteY1" fmla="*/ 209550 h 1333500"/>
                <a:gd name="connsiteX2" fmla="*/ 1647825 w 2181225"/>
                <a:gd name="connsiteY2" fmla="*/ 971550 h 1333500"/>
                <a:gd name="connsiteX3" fmla="*/ 0 w 2181225"/>
                <a:gd name="connsiteY3" fmla="*/ 1333500 h 1333500"/>
                <a:gd name="connsiteX4" fmla="*/ 571500 w 2181225"/>
                <a:gd name="connsiteY4" fmla="*/ 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1225" h="1333500">
                  <a:moveTo>
                    <a:pt x="571500" y="0"/>
                  </a:moveTo>
                  <a:lnTo>
                    <a:pt x="2181225" y="209550"/>
                  </a:lnTo>
                  <a:lnTo>
                    <a:pt x="1647825" y="971550"/>
                  </a:lnTo>
                  <a:lnTo>
                    <a:pt x="0" y="1333500"/>
                  </a:lnTo>
                  <a:cubicBezTo>
                    <a:pt x="283551" y="850900"/>
                    <a:pt x="434975" y="550634"/>
                    <a:pt x="571500" y="0"/>
                  </a:cubicBezTo>
                  <a:close/>
                </a:path>
              </a:pathLst>
            </a:custGeom>
            <a:gradFill>
              <a:gsLst>
                <a:gs pos="50000">
                  <a:schemeClr val="accent1">
                    <a:lumMod val="75000"/>
                    <a:alpha val="52000"/>
                  </a:schemeClr>
                </a:gs>
                <a:gs pos="100000">
                  <a:srgbClr val="6EAF27"/>
                </a:gs>
              </a:gsLst>
              <a:lin ang="5400000" scaled="0"/>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2000" b="1" dirty="0">
                <a:solidFill>
                  <a:schemeClr val="bg1"/>
                </a:solidFill>
                <a:latin typeface="Arial" charset="0"/>
                <a:cs typeface="Arial" charset="0"/>
              </a:endParaRPr>
            </a:p>
          </p:txBody>
        </p:sp>
      </p:grpSp>
      <p:grpSp>
        <p:nvGrpSpPr>
          <p:cNvPr id="20" name="Group 19"/>
          <p:cNvGrpSpPr/>
          <p:nvPr/>
        </p:nvGrpSpPr>
        <p:grpSpPr>
          <a:xfrm>
            <a:off x="2120528" y="4986421"/>
            <a:ext cx="992241" cy="855255"/>
            <a:chOff x="-2400413" y="1974866"/>
            <a:chExt cx="2598737" cy="2239963"/>
          </a:xfrm>
        </p:grpSpPr>
        <p:grpSp>
          <p:nvGrpSpPr>
            <p:cNvPr id="21" name="Group 1517"/>
            <p:cNvGrpSpPr/>
            <p:nvPr/>
          </p:nvGrpSpPr>
          <p:grpSpPr>
            <a:xfrm>
              <a:off x="-2400413" y="1974866"/>
              <a:ext cx="2598737" cy="2239963"/>
              <a:chOff x="-2400413" y="1974866"/>
              <a:chExt cx="2598737" cy="2239963"/>
            </a:xfrm>
          </p:grpSpPr>
          <p:sp>
            <p:nvSpPr>
              <p:cNvPr id="25" name="Freeform 21"/>
              <p:cNvSpPr>
                <a:spLocks/>
              </p:cNvSpPr>
              <p:nvPr/>
            </p:nvSpPr>
            <p:spPr bwMode="auto">
              <a:xfrm>
                <a:off x="-2400413" y="2548358"/>
                <a:ext cx="2598737" cy="1643063"/>
              </a:xfrm>
              <a:custGeom>
                <a:avLst/>
                <a:gdLst/>
                <a:ahLst/>
                <a:cxnLst>
                  <a:cxn ang="0">
                    <a:pos x="691" y="184"/>
                  </a:cxn>
                  <a:cxn ang="0">
                    <a:pos x="491" y="369"/>
                  </a:cxn>
                  <a:cxn ang="0">
                    <a:pos x="491" y="369"/>
                  </a:cxn>
                  <a:cxn ang="0">
                    <a:pos x="491" y="369"/>
                  </a:cxn>
                  <a:cxn ang="0">
                    <a:pos x="268" y="438"/>
                  </a:cxn>
                  <a:cxn ang="0">
                    <a:pos x="126" y="342"/>
                  </a:cxn>
                  <a:cxn ang="0">
                    <a:pos x="126" y="342"/>
                  </a:cxn>
                  <a:cxn ang="0">
                    <a:pos x="305" y="49"/>
                  </a:cxn>
                  <a:cxn ang="0">
                    <a:pos x="305" y="49"/>
                  </a:cxn>
                  <a:cxn ang="0">
                    <a:pos x="305" y="49"/>
                  </a:cxn>
                  <a:cxn ang="0">
                    <a:pos x="691" y="184"/>
                  </a:cxn>
                  <a:cxn ang="0">
                    <a:pos x="691" y="184"/>
                  </a:cxn>
                </a:cxnLst>
                <a:rect l="0" t="0" r="r" b="b"/>
                <a:pathLst>
                  <a:path w="693" h="438">
                    <a:moveTo>
                      <a:pt x="691" y="184"/>
                    </a:moveTo>
                    <a:cubicBezTo>
                      <a:pt x="693" y="259"/>
                      <a:pt x="606" y="333"/>
                      <a:pt x="491" y="369"/>
                    </a:cubicBezTo>
                    <a:cubicBezTo>
                      <a:pt x="491" y="369"/>
                      <a:pt x="491" y="369"/>
                      <a:pt x="491" y="369"/>
                    </a:cubicBezTo>
                    <a:cubicBezTo>
                      <a:pt x="491" y="369"/>
                      <a:pt x="491" y="369"/>
                      <a:pt x="491" y="369"/>
                    </a:cubicBezTo>
                    <a:cubicBezTo>
                      <a:pt x="419" y="391"/>
                      <a:pt x="345" y="414"/>
                      <a:pt x="268" y="438"/>
                    </a:cubicBezTo>
                    <a:cubicBezTo>
                      <a:pt x="229" y="411"/>
                      <a:pt x="183" y="380"/>
                      <a:pt x="126" y="342"/>
                    </a:cubicBezTo>
                    <a:cubicBezTo>
                      <a:pt x="126" y="342"/>
                      <a:pt x="126" y="342"/>
                      <a:pt x="126" y="342"/>
                    </a:cubicBezTo>
                    <a:cubicBezTo>
                      <a:pt x="0" y="256"/>
                      <a:pt x="63" y="104"/>
                      <a:pt x="305" y="49"/>
                    </a:cubicBezTo>
                    <a:cubicBezTo>
                      <a:pt x="305" y="49"/>
                      <a:pt x="305" y="49"/>
                      <a:pt x="305" y="49"/>
                    </a:cubicBezTo>
                    <a:cubicBezTo>
                      <a:pt x="305" y="49"/>
                      <a:pt x="305" y="49"/>
                      <a:pt x="305" y="49"/>
                    </a:cubicBezTo>
                    <a:cubicBezTo>
                      <a:pt x="523" y="0"/>
                      <a:pt x="688" y="80"/>
                      <a:pt x="691" y="184"/>
                    </a:cubicBezTo>
                    <a:cubicBezTo>
                      <a:pt x="691" y="184"/>
                      <a:pt x="691" y="184"/>
                      <a:pt x="691" y="184"/>
                    </a:cubicBezTo>
                    <a:close/>
                  </a:path>
                </a:pathLst>
              </a:custGeom>
              <a:gradFill>
                <a:gsLst>
                  <a:gs pos="0">
                    <a:schemeClr val="tx1">
                      <a:lumMod val="65000"/>
                      <a:lumOff val="35000"/>
                      <a:alpha val="0"/>
                    </a:schemeClr>
                  </a:gs>
                  <a:gs pos="100000">
                    <a:schemeClr val="tx1">
                      <a:lumMod val="85000"/>
                      <a:lumOff val="15000"/>
                      <a:alpha val="52000"/>
                    </a:schemeClr>
                  </a:gs>
                </a:gsLst>
                <a:lin ang="5400000" scaled="0"/>
              </a:gradFill>
              <a:ln w="14288"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26" name="Group 1511"/>
              <p:cNvGrpSpPr/>
              <p:nvPr/>
            </p:nvGrpSpPr>
            <p:grpSpPr>
              <a:xfrm>
                <a:off x="-2342357" y="1974866"/>
                <a:ext cx="1957388" cy="2239963"/>
                <a:chOff x="-1674813" y="1987550"/>
                <a:chExt cx="1957388" cy="2239963"/>
              </a:xfrm>
            </p:grpSpPr>
            <p:sp>
              <p:nvSpPr>
                <p:cNvPr id="27" name="Freeform 14"/>
                <p:cNvSpPr>
                  <a:spLocks/>
                </p:cNvSpPr>
                <p:nvPr/>
              </p:nvSpPr>
              <p:spPr bwMode="auto">
                <a:xfrm>
                  <a:off x="-1674813" y="1987550"/>
                  <a:ext cx="1957388" cy="2239963"/>
                </a:xfrm>
                <a:custGeom>
                  <a:avLst/>
                  <a:gdLst/>
                  <a:ahLst/>
                  <a:cxnLst>
                    <a:cxn ang="0">
                      <a:pos x="429" y="93"/>
                    </a:cxn>
                    <a:cxn ang="0">
                      <a:pos x="429" y="429"/>
                    </a:cxn>
                    <a:cxn ang="0">
                      <a:pos x="429" y="429"/>
                    </a:cxn>
                    <a:cxn ang="0">
                      <a:pos x="429" y="429"/>
                    </a:cxn>
                    <a:cxn ang="0">
                      <a:pos x="261" y="597"/>
                    </a:cxn>
                    <a:cxn ang="0">
                      <a:pos x="93" y="429"/>
                    </a:cxn>
                    <a:cxn ang="0">
                      <a:pos x="93" y="429"/>
                    </a:cxn>
                    <a:cxn ang="0">
                      <a:pos x="93" y="93"/>
                    </a:cxn>
                    <a:cxn ang="0">
                      <a:pos x="93" y="93"/>
                    </a:cxn>
                    <a:cxn ang="0">
                      <a:pos x="93" y="93"/>
                    </a:cxn>
                    <a:cxn ang="0">
                      <a:pos x="429" y="93"/>
                    </a:cxn>
                    <a:cxn ang="0">
                      <a:pos x="429" y="93"/>
                    </a:cxn>
                  </a:cxnLst>
                  <a:rect l="0" t="0" r="r" b="b"/>
                  <a:pathLst>
                    <a:path w="522" h="597">
                      <a:moveTo>
                        <a:pt x="429" y="93"/>
                      </a:moveTo>
                      <a:cubicBezTo>
                        <a:pt x="522" y="185"/>
                        <a:pt x="522" y="336"/>
                        <a:pt x="429" y="429"/>
                      </a:cubicBezTo>
                      <a:cubicBezTo>
                        <a:pt x="429" y="429"/>
                        <a:pt x="429" y="429"/>
                        <a:pt x="429" y="429"/>
                      </a:cubicBezTo>
                      <a:cubicBezTo>
                        <a:pt x="429" y="429"/>
                        <a:pt x="429" y="429"/>
                        <a:pt x="429" y="429"/>
                      </a:cubicBezTo>
                      <a:cubicBezTo>
                        <a:pt x="373" y="485"/>
                        <a:pt x="317" y="541"/>
                        <a:pt x="261" y="597"/>
                      </a:cubicBezTo>
                      <a:cubicBezTo>
                        <a:pt x="205" y="541"/>
                        <a:pt x="149" y="485"/>
                        <a:pt x="93" y="429"/>
                      </a:cubicBezTo>
                      <a:cubicBezTo>
                        <a:pt x="93" y="429"/>
                        <a:pt x="93" y="429"/>
                        <a:pt x="93" y="429"/>
                      </a:cubicBezTo>
                      <a:cubicBezTo>
                        <a:pt x="0" y="336"/>
                        <a:pt x="0" y="185"/>
                        <a:pt x="93" y="93"/>
                      </a:cubicBezTo>
                      <a:cubicBezTo>
                        <a:pt x="93" y="93"/>
                        <a:pt x="93" y="93"/>
                        <a:pt x="93" y="93"/>
                      </a:cubicBezTo>
                      <a:cubicBezTo>
                        <a:pt x="93" y="93"/>
                        <a:pt x="93" y="93"/>
                        <a:pt x="93" y="93"/>
                      </a:cubicBezTo>
                      <a:cubicBezTo>
                        <a:pt x="186" y="0"/>
                        <a:pt x="336" y="0"/>
                        <a:pt x="429" y="93"/>
                      </a:cubicBezTo>
                      <a:cubicBezTo>
                        <a:pt x="429" y="93"/>
                        <a:pt x="429" y="93"/>
                        <a:pt x="429" y="93"/>
                      </a:cubicBezTo>
                      <a:close/>
                    </a:path>
                  </a:pathLst>
                </a:custGeom>
                <a:gradFill>
                  <a:gsLst>
                    <a:gs pos="0">
                      <a:schemeClr val="accent4">
                        <a:lumMod val="60000"/>
                        <a:lumOff val="40000"/>
                      </a:schemeClr>
                    </a:gs>
                    <a:gs pos="100000">
                      <a:schemeClr val="accent4"/>
                    </a:gs>
                  </a:gsLst>
                  <a:lin ang="5400000" scaled="0"/>
                </a:gradFill>
                <a:ln w="15875"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6"/>
                <p:cNvSpPr>
                  <a:spLocks/>
                </p:cNvSpPr>
                <p:nvPr/>
              </p:nvSpPr>
              <p:spPr bwMode="auto">
                <a:xfrm>
                  <a:off x="-1674813" y="2073275"/>
                  <a:ext cx="977900" cy="2154238"/>
                </a:xfrm>
                <a:custGeom>
                  <a:avLst/>
                  <a:gdLst/>
                  <a:ahLst/>
                  <a:cxnLst>
                    <a:cxn ang="0">
                      <a:pos x="261" y="0"/>
                    </a:cxn>
                    <a:cxn ang="0">
                      <a:pos x="93" y="70"/>
                    </a:cxn>
                    <a:cxn ang="0">
                      <a:pos x="93" y="406"/>
                    </a:cxn>
                    <a:cxn ang="0">
                      <a:pos x="261" y="574"/>
                    </a:cxn>
                    <a:cxn ang="0">
                      <a:pos x="261" y="0"/>
                    </a:cxn>
                  </a:cxnLst>
                  <a:rect l="0" t="0" r="r" b="b"/>
                  <a:pathLst>
                    <a:path w="261" h="574">
                      <a:moveTo>
                        <a:pt x="261" y="0"/>
                      </a:moveTo>
                      <a:cubicBezTo>
                        <a:pt x="200" y="0"/>
                        <a:pt x="139" y="23"/>
                        <a:pt x="93" y="70"/>
                      </a:cubicBezTo>
                      <a:cubicBezTo>
                        <a:pt x="0" y="162"/>
                        <a:pt x="0" y="313"/>
                        <a:pt x="93" y="406"/>
                      </a:cubicBezTo>
                      <a:cubicBezTo>
                        <a:pt x="149" y="462"/>
                        <a:pt x="205" y="518"/>
                        <a:pt x="261" y="574"/>
                      </a:cubicBezTo>
                      <a:lnTo>
                        <a:pt x="261" y="0"/>
                      </a:lnTo>
                      <a:close/>
                    </a:path>
                  </a:pathLst>
                </a:custGeom>
                <a:solidFill>
                  <a:schemeClr val="accent4">
                    <a:lumMod val="20000"/>
                    <a:lumOff val="80000"/>
                    <a:alpha val="28000"/>
                  </a:schemeClr>
                </a:solidFill>
                <a:ln w="15875"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23" name="Freeform 15"/>
            <p:cNvSpPr>
              <a:spLocks/>
            </p:cNvSpPr>
            <p:nvPr/>
          </p:nvSpPr>
          <p:spPr bwMode="auto">
            <a:xfrm>
              <a:off x="-2031207" y="2101456"/>
              <a:ext cx="1335088" cy="1066288"/>
            </a:xfrm>
            <a:custGeom>
              <a:avLst/>
              <a:gdLst/>
              <a:ahLst/>
              <a:cxnLst>
                <a:cxn ang="0">
                  <a:pos x="0" y="178"/>
                </a:cxn>
                <a:cxn ang="0">
                  <a:pos x="178" y="0"/>
                </a:cxn>
                <a:cxn ang="0">
                  <a:pos x="178" y="0"/>
                </a:cxn>
                <a:cxn ang="0">
                  <a:pos x="178" y="0"/>
                </a:cxn>
                <a:cxn ang="0">
                  <a:pos x="356" y="178"/>
                </a:cxn>
                <a:cxn ang="0">
                  <a:pos x="356" y="178"/>
                </a:cxn>
                <a:cxn ang="0">
                  <a:pos x="356" y="178"/>
                </a:cxn>
                <a:cxn ang="0">
                  <a:pos x="178" y="357"/>
                </a:cxn>
                <a:cxn ang="0">
                  <a:pos x="178" y="357"/>
                </a:cxn>
                <a:cxn ang="0">
                  <a:pos x="178" y="357"/>
                </a:cxn>
                <a:cxn ang="0">
                  <a:pos x="0" y="178"/>
                </a:cxn>
                <a:cxn ang="0">
                  <a:pos x="0" y="178"/>
                </a:cxn>
              </a:cxnLst>
              <a:rect l="0" t="0" r="r" b="b"/>
              <a:pathLst>
                <a:path w="356" h="357">
                  <a:moveTo>
                    <a:pt x="0" y="178"/>
                  </a:moveTo>
                  <a:cubicBezTo>
                    <a:pt x="0" y="80"/>
                    <a:pt x="79" y="0"/>
                    <a:pt x="178" y="0"/>
                  </a:cubicBezTo>
                  <a:cubicBezTo>
                    <a:pt x="178" y="0"/>
                    <a:pt x="178" y="0"/>
                    <a:pt x="178" y="0"/>
                  </a:cubicBezTo>
                  <a:cubicBezTo>
                    <a:pt x="178" y="0"/>
                    <a:pt x="178" y="0"/>
                    <a:pt x="178" y="0"/>
                  </a:cubicBezTo>
                  <a:cubicBezTo>
                    <a:pt x="276" y="0"/>
                    <a:pt x="356" y="80"/>
                    <a:pt x="356" y="178"/>
                  </a:cubicBezTo>
                  <a:cubicBezTo>
                    <a:pt x="356" y="178"/>
                    <a:pt x="356" y="178"/>
                    <a:pt x="356" y="178"/>
                  </a:cubicBezTo>
                  <a:cubicBezTo>
                    <a:pt x="356" y="178"/>
                    <a:pt x="356" y="178"/>
                    <a:pt x="356" y="178"/>
                  </a:cubicBezTo>
                  <a:cubicBezTo>
                    <a:pt x="356" y="277"/>
                    <a:pt x="276" y="357"/>
                    <a:pt x="178" y="357"/>
                  </a:cubicBezTo>
                  <a:cubicBezTo>
                    <a:pt x="178" y="357"/>
                    <a:pt x="178" y="357"/>
                    <a:pt x="178" y="357"/>
                  </a:cubicBezTo>
                  <a:cubicBezTo>
                    <a:pt x="178" y="357"/>
                    <a:pt x="178" y="357"/>
                    <a:pt x="178" y="357"/>
                  </a:cubicBezTo>
                  <a:cubicBezTo>
                    <a:pt x="79" y="357"/>
                    <a:pt x="0" y="277"/>
                    <a:pt x="0" y="178"/>
                  </a:cubicBezTo>
                  <a:cubicBezTo>
                    <a:pt x="0" y="178"/>
                    <a:pt x="0" y="178"/>
                    <a:pt x="0" y="178"/>
                  </a:cubicBezTo>
                  <a:close/>
                </a:path>
              </a:pathLst>
            </a:custGeom>
            <a:solidFill>
              <a:schemeClr val="bg1">
                <a:alpha val="25000"/>
              </a:schemeClr>
            </a:solidFill>
            <a:ln w="25400"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5"/>
            <p:cNvSpPr>
              <a:spLocks/>
            </p:cNvSpPr>
            <p:nvPr/>
          </p:nvSpPr>
          <p:spPr bwMode="auto">
            <a:xfrm>
              <a:off x="-2020094" y="2306638"/>
              <a:ext cx="1335088" cy="1339850"/>
            </a:xfrm>
            <a:custGeom>
              <a:avLst/>
              <a:gdLst/>
              <a:ahLst/>
              <a:cxnLst>
                <a:cxn ang="0">
                  <a:pos x="0" y="178"/>
                </a:cxn>
                <a:cxn ang="0">
                  <a:pos x="178" y="0"/>
                </a:cxn>
                <a:cxn ang="0">
                  <a:pos x="178" y="0"/>
                </a:cxn>
                <a:cxn ang="0">
                  <a:pos x="178" y="0"/>
                </a:cxn>
                <a:cxn ang="0">
                  <a:pos x="356" y="178"/>
                </a:cxn>
                <a:cxn ang="0">
                  <a:pos x="356" y="178"/>
                </a:cxn>
                <a:cxn ang="0">
                  <a:pos x="356" y="178"/>
                </a:cxn>
                <a:cxn ang="0">
                  <a:pos x="178" y="357"/>
                </a:cxn>
                <a:cxn ang="0">
                  <a:pos x="178" y="357"/>
                </a:cxn>
                <a:cxn ang="0">
                  <a:pos x="178" y="357"/>
                </a:cxn>
                <a:cxn ang="0">
                  <a:pos x="0" y="178"/>
                </a:cxn>
                <a:cxn ang="0">
                  <a:pos x="0" y="178"/>
                </a:cxn>
              </a:cxnLst>
              <a:rect l="0" t="0" r="r" b="b"/>
              <a:pathLst>
                <a:path w="356" h="357">
                  <a:moveTo>
                    <a:pt x="0" y="178"/>
                  </a:moveTo>
                  <a:cubicBezTo>
                    <a:pt x="0" y="80"/>
                    <a:pt x="79" y="0"/>
                    <a:pt x="178" y="0"/>
                  </a:cubicBezTo>
                  <a:cubicBezTo>
                    <a:pt x="178" y="0"/>
                    <a:pt x="178" y="0"/>
                    <a:pt x="178" y="0"/>
                  </a:cubicBezTo>
                  <a:cubicBezTo>
                    <a:pt x="178" y="0"/>
                    <a:pt x="178" y="0"/>
                    <a:pt x="178" y="0"/>
                  </a:cubicBezTo>
                  <a:cubicBezTo>
                    <a:pt x="276" y="0"/>
                    <a:pt x="356" y="80"/>
                    <a:pt x="356" y="178"/>
                  </a:cubicBezTo>
                  <a:cubicBezTo>
                    <a:pt x="356" y="178"/>
                    <a:pt x="356" y="178"/>
                    <a:pt x="356" y="178"/>
                  </a:cubicBezTo>
                  <a:cubicBezTo>
                    <a:pt x="356" y="178"/>
                    <a:pt x="356" y="178"/>
                    <a:pt x="356" y="178"/>
                  </a:cubicBezTo>
                  <a:cubicBezTo>
                    <a:pt x="356" y="277"/>
                    <a:pt x="276" y="357"/>
                    <a:pt x="178" y="357"/>
                  </a:cubicBezTo>
                  <a:cubicBezTo>
                    <a:pt x="178" y="357"/>
                    <a:pt x="178" y="357"/>
                    <a:pt x="178" y="357"/>
                  </a:cubicBezTo>
                  <a:cubicBezTo>
                    <a:pt x="178" y="357"/>
                    <a:pt x="178" y="357"/>
                    <a:pt x="178" y="357"/>
                  </a:cubicBezTo>
                  <a:cubicBezTo>
                    <a:pt x="79" y="357"/>
                    <a:pt x="0" y="277"/>
                    <a:pt x="0" y="178"/>
                  </a:cubicBezTo>
                  <a:cubicBezTo>
                    <a:pt x="0" y="178"/>
                    <a:pt x="0" y="178"/>
                    <a:pt x="0" y="178"/>
                  </a:cubicBezTo>
                  <a:close/>
                </a:path>
              </a:pathLst>
            </a:custGeom>
            <a:gradFill>
              <a:gsLst>
                <a:gs pos="0">
                  <a:schemeClr val="bg1"/>
                </a:gs>
                <a:gs pos="100000">
                  <a:schemeClr val="bg1">
                    <a:lumMod val="85000"/>
                  </a:schemeClr>
                </a:gs>
              </a:gsLst>
              <a:lin ang="5400000" scaled="0"/>
            </a:gradFill>
            <a:ln w="34925" cap="flat">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4551309" y="4267200"/>
            <a:ext cx="992241" cy="855255"/>
            <a:chOff x="-2400413" y="1974866"/>
            <a:chExt cx="2598737" cy="2239963"/>
          </a:xfrm>
        </p:grpSpPr>
        <p:grpSp>
          <p:nvGrpSpPr>
            <p:cNvPr id="30" name="Group 1517"/>
            <p:cNvGrpSpPr/>
            <p:nvPr/>
          </p:nvGrpSpPr>
          <p:grpSpPr>
            <a:xfrm>
              <a:off x="-2400413" y="1974866"/>
              <a:ext cx="2598737" cy="2239963"/>
              <a:chOff x="-2400413" y="1974866"/>
              <a:chExt cx="2598737" cy="2239963"/>
            </a:xfrm>
          </p:grpSpPr>
          <p:sp>
            <p:nvSpPr>
              <p:cNvPr id="33" name="Freeform 21"/>
              <p:cNvSpPr>
                <a:spLocks/>
              </p:cNvSpPr>
              <p:nvPr/>
            </p:nvSpPr>
            <p:spPr bwMode="auto">
              <a:xfrm>
                <a:off x="-2400413" y="2548358"/>
                <a:ext cx="2598737" cy="1643063"/>
              </a:xfrm>
              <a:custGeom>
                <a:avLst/>
                <a:gdLst/>
                <a:ahLst/>
                <a:cxnLst>
                  <a:cxn ang="0">
                    <a:pos x="691" y="184"/>
                  </a:cxn>
                  <a:cxn ang="0">
                    <a:pos x="491" y="369"/>
                  </a:cxn>
                  <a:cxn ang="0">
                    <a:pos x="491" y="369"/>
                  </a:cxn>
                  <a:cxn ang="0">
                    <a:pos x="491" y="369"/>
                  </a:cxn>
                  <a:cxn ang="0">
                    <a:pos x="268" y="438"/>
                  </a:cxn>
                  <a:cxn ang="0">
                    <a:pos x="126" y="342"/>
                  </a:cxn>
                  <a:cxn ang="0">
                    <a:pos x="126" y="342"/>
                  </a:cxn>
                  <a:cxn ang="0">
                    <a:pos x="305" y="49"/>
                  </a:cxn>
                  <a:cxn ang="0">
                    <a:pos x="305" y="49"/>
                  </a:cxn>
                  <a:cxn ang="0">
                    <a:pos x="305" y="49"/>
                  </a:cxn>
                  <a:cxn ang="0">
                    <a:pos x="691" y="184"/>
                  </a:cxn>
                  <a:cxn ang="0">
                    <a:pos x="691" y="184"/>
                  </a:cxn>
                </a:cxnLst>
                <a:rect l="0" t="0" r="r" b="b"/>
                <a:pathLst>
                  <a:path w="693" h="438">
                    <a:moveTo>
                      <a:pt x="691" y="184"/>
                    </a:moveTo>
                    <a:cubicBezTo>
                      <a:pt x="693" y="259"/>
                      <a:pt x="606" y="333"/>
                      <a:pt x="491" y="369"/>
                    </a:cubicBezTo>
                    <a:cubicBezTo>
                      <a:pt x="491" y="369"/>
                      <a:pt x="491" y="369"/>
                      <a:pt x="491" y="369"/>
                    </a:cubicBezTo>
                    <a:cubicBezTo>
                      <a:pt x="491" y="369"/>
                      <a:pt x="491" y="369"/>
                      <a:pt x="491" y="369"/>
                    </a:cubicBezTo>
                    <a:cubicBezTo>
                      <a:pt x="419" y="391"/>
                      <a:pt x="345" y="414"/>
                      <a:pt x="268" y="438"/>
                    </a:cubicBezTo>
                    <a:cubicBezTo>
                      <a:pt x="229" y="411"/>
                      <a:pt x="183" y="380"/>
                      <a:pt x="126" y="342"/>
                    </a:cubicBezTo>
                    <a:cubicBezTo>
                      <a:pt x="126" y="342"/>
                      <a:pt x="126" y="342"/>
                      <a:pt x="126" y="342"/>
                    </a:cubicBezTo>
                    <a:cubicBezTo>
                      <a:pt x="0" y="256"/>
                      <a:pt x="63" y="104"/>
                      <a:pt x="305" y="49"/>
                    </a:cubicBezTo>
                    <a:cubicBezTo>
                      <a:pt x="305" y="49"/>
                      <a:pt x="305" y="49"/>
                      <a:pt x="305" y="49"/>
                    </a:cubicBezTo>
                    <a:cubicBezTo>
                      <a:pt x="305" y="49"/>
                      <a:pt x="305" y="49"/>
                      <a:pt x="305" y="49"/>
                    </a:cubicBezTo>
                    <a:cubicBezTo>
                      <a:pt x="523" y="0"/>
                      <a:pt x="688" y="80"/>
                      <a:pt x="691" y="184"/>
                    </a:cubicBezTo>
                    <a:cubicBezTo>
                      <a:pt x="691" y="184"/>
                      <a:pt x="691" y="184"/>
                      <a:pt x="691" y="184"/>
                    </a:cubicBezTo>
                    <a:close/>
                  </a:path>
                </a:pathLst>
              </a:custGeom>
              <a:gradFill>
                <a:gsLst>
                  <a:gs pos="0">
                    <a:schemeClr val="tx1">
                      <a:lumMod val="65000"/>
                      <a:lumOff val="35000"/>
                      <a:alpha val="0"/>
                    </a:schemeClr>
                  </a:gs>
                  <a:gs pos="100000">
                    <a:schemeClr val="tx1">
                      <a:lumMod val="85000"/>
                      <a:lumOff val="15000"/>
                      <a:alpha val="52000"/>
                    </a:schemeClr>
                  </a:gs>
                </a:gsLst>
                <a:lin ang="5400000" scaled="0"/>
              </a:gradFill>
              <a:ln w="14288"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34" name="Group 1511"/>
              <p:cNvGrpSpPr/>
              <p:nvPr/>
            </p:nvGrpSpPr>
            <p:grpSpPr>
              <a:xfrm>
                <a:off x="-2342357" y="1974866"/>
                <a:ext cx="1957388" cy="2239963"/>
                <a:chOff x="-1674813" y="1987550"/>
                <a:chExt cx="1957388" cy="2239963"/>
              </a:xfrm>
            </p:grpSpPr>
            <p:sp>
              <p:nvSpPr>
                <p:cNvPr id="35" name="Freeform 14"/>
                <p:cNvSpPr>
                  <a:spLocks/>
                </p:cNvSpPr>
                <p:nvPr/>
              </p:nvSpPr>
              <p:spPr bwMode="auto">
                <a:xfrm>
                  <a:off x="-1674813" y="1987550"/>
                  <a:ext cx="1957388" cy="2239963"/>
                </a:xfrm>
                <a:custGeom>
                  <a:avLst/>
                  <a:gdLst/>
                  <a:ahLst/>
                  <a:cxnLst>
                    <a:cxn ang="0">
                      <a:pos x="429" y="93"/>
                    </a:cxn>
                    <a:cxn ang="0">
                      <a:pos x="429" y="429"/>
                    </a:cxn>
                    <a:cxn ang="0">
                      <a:pos x="429" y="429"/>
                    </a:cxn>
                    <a:cxn ang="0">
                      <a:pos x="429" y="429"/>
                    </a:cxn>
                    <a:cxn ang="0">
                      <a:pos x="261" y="597"/>
                    </a:cxn>
                    <a:cxn ang="0">
                      <a:pos x="93" y="429"/>
                    </a:cxn>
                    <a:cxn ang="0">
                      <a:pos x="93" y="429"/>
                    </a:cxn>
                    <a:cxn ang="0">
                      <a:pos x="93" y="93"/>
                    </a:cxn>
                    <a:cxn ang="0">
                      <a:pos x="93" y="93"/>
                    </a:cxn>
                    <a:cxn ang="0">
                      <a:pos x="93" y="93"/>
                    </a:cxn>
                    <a:cxn ang="0">
                      <a:pos x="429" y="93"/>
                    </a:cxn>
                    <a:cxn ang="0">
                      <a:pos x="429" y="93"/>
                    </a:cxn>
                  </a:cxnLst>
                  <a:rect l="0" t="0" r="r" b="b"/>
                  <a:pathLst>
                    <a:path w="522" h="597">
                      <a:moveTo>
                        <a:pt x="429" y="93"/>
                      </a:moveTo>
                      <a:cubicBezTo>
                        <a:pt x="522" y="185"/>
                        <a:pt x="522" y="336"/>
                        <a:pt x="429" y="429"/>
                      </a:cubicBezTo>
                      <a:cubicBezTo>
                        <a:pt x="429" y="429"/>
                        <a:pt x="429" y="429"/>
                        <a:pt x="429" y="429"/>
                      </a:cubicBezTo>
                      <a:cubicBezTo>
                        <a:pt x="429" y="429"/>
                        <a:pt x="429" y="429"/>
                        <a:pt x="429" y="429"/>
                      </a:cubicBezTo>
                      <a:cubicBezTo>
                        <a:pt x="373" y="485"/>
                        <a:pt x="317" y="541"/>
                        <a:pt x="261" y="597"/>
                      </a:cubicBezTo>
                      <a:cubicBezTo>
                        <a:pt x="205" y="541"/>
                        <a:pt x="149" y="485"/>
                        <a:pt x="93" y="429"/>
                      </a:cubicBezTo>
                      <a:cubicBezTo>
                        <a:pt x="93" y="429"/>
                        <a:pt x="93" y="429"/>
                        <a:pt x="93" y="429"/>
                      </a:cubicBezTo>
                      <a:cubicBezTo>
                        <a:pt x="0" y="336"/>
                        <a:pt x="0" y="185"/>
                        <a:pt x="93" y="93"/>
                      </a:cubicBezTo>
                      <a:cubicBezTo>
                        <a:pt x="93" y="93"/>
                        <a:pt x="93" y="93"/>
                        <a:pt x="93" y="93"/>
                      </a:cubicBezTo>
                      <a:cubicBezTo>
                        <a:pt x="93" y="93"/>
                        <a:pt x="93" y="93"/>
                        <a:pt x="93" y="93"/>
                      </a:cubicBezTo>
                      <a:cubicBezTo>
                        <a:pt x="186" y="0"/>
                        <a:pt x="336" y="0"/>
                        <a:pt x="429" y="93"/>
                      </a:cubicBezTo>
                      <a:cubicBezTo>
                        <a:pt x="429" y="93"/>
                        <a:pt x="429" y="93"/>
                        <a:pt x="429" y="93"/>
                      </a:cubicBezTo>
                      <a:close/>
                    </a:path>
                  </a:pathLst>
                </a:custGeom>
                <a:gradFill>
                  <a:gsLst>
                    <a:gs pos="0">
                      <a:schemeClr val="accent4">
                        <a:lumMod val="60000"/>
                        <a:lumOff val="40000"/>
                      </a:schemeClr>
                    </a:gs>
                    <a:gs pos="100000">
                      <a:schemeClr val="accent4"/>
                    </a:gs>
                  </a:gsLst>
                  <a:lin ang="5400000" scaled="0"/>
                </a:gradFill>
                <a:ln w="15875"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6"/>
                <p:cNvSpPr>
                  <a:spLocks/>
                </p:cNvSpPr>
                <p:nvPr/>
              </p:nvSpPr>
              <p:spPr bwMode="auto">
                <a:xfrm>
                  <a:off x="-1674813" y="2073275"/>
                  <a:ext cx="977900" cy="2154238"/>
                </a:xfrm>
                <a:custGeom>
                  <a:avLst/>
                  <a:gdLst/>
                  <a:ahLst/>
                  <a:cxnLst>
                    <a:cxn ang="0">
                      <a:pos x="261" y="0"/>
                    </a:cxn>
                    <a:cxn ang="0">
                      <a:pos x="93" y="70"/>
                    </a:cxn>
                    <a:cxn ang="0">
                      <a:pos x="93" y="406"/>
                    </a:cxn>
                    <a:cxn ang="0">
                      <a:pos x="261" y="574"/>
                    </a:cxn>
                    <a:cxn ang="0">
                      <a:pos x="261" y="0"/>
                    </a:cxn>
                  </a:cxnLst>
                  <a:rect l="0" t="0" r="r" b="b"/>
                  <a:pathLst>
                    <a:path w="261" h="574">
                      <a:moveTo>
                        <a:pt x="261" y="0"/>
                      </a:moveTo>
                      <a:cubicBezTo>
                        <a:pt x="200" y="0"/>
                        <a:pt x="139" y="23"/>
                        <a:pt x="93" y="70"/>
                      </a:cubicBezTo>
                      <a:cubicBezTo>
                        <a:pt x="0" y="162"/>
                        <a:pt x="0" y="313"/>
                        <a:pt x="93" y="406"/>
                      </a:cubicBezTo>
                      <a:cubicBezTo>
                        <a:pt x="149" y="462"/>
                        <a:pt x="205" y="518"/>
                        <a:pt x="261" y="574"/>
                      </a:cubicBezTo>
                      <a:lnTo>
                        <a:pt x="261" y="0"/>
                      </a:lnTo>
                      <a:close/>
                    </a:path>
                  </a:pathLst>
                </a:custGeom>
                <a:solidFill>
                  <a:schemeClr val="accent4">
                    <a:lumMod val="20000"/>
                    <a:lumOff val="80000"/>
                    <a:alpha val="28000"/>
                  </a:schemeClr>
                </a:solidFill>
                <a:ln w="15875"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31" name="Freeform 15"/>
            <p:cNvSpPr>
              <a:spLocks/>
            </p:cNvSpPr>
            <p:nvPr/>
          </p:nvSpPr>
          <p:spPr bwMode="auto">
            <a:xfrm>
              <a:off x="-2031207" y="2101456"/>
              <a:ext cx="1335088" cy="1066288"/>
            </a:xfrm>
            <a:custGeom>
              <a:avLst/>
              <a:gdLst/>
              <a:ahLst/>
              <a:cxnLst>
                <a:cxn ang="0">
                  <a:pos x="0" y="178"/>
                </a:cxn>
                <a:cxn ang="0">
                  <a:pos x="178" y="0"/>
                </a:cxn>
                <a:cxn ang="0">
                  <a:pos x="178" y="0"/>
                </a:cxn>
                <a:cxn ang="0">
                  <a:pos x="178" y="0"/>
                </a:cxn>
                <a:cxn ang="0">
                  <a:pos x="356" y="178"/>
                </a:cxn>
                <a:cxn ang="0">
                  <a:pos x="356" y="178"/>
                </a:cxn>
                <a:cxn ang="0">
                  <a:pos x="356" y="178"/>
                </a:cxn>
                <a:cxn ang="0">
                  <a:pos x="178" y="357"/>
                </a:cxn>
                <a:cxn ang="0">
                  <a:pos x="178" y="357"/>
                </a:cxn>
                <a:cxn ang="0">
                  <a:pos x="178" y="357"/>
                </a:cxn>
                <a:cxn ang="0">
                  <a:pos x="0" y="178"/>
                </a:cxn>
                <a:cxn ang="0">
                  <a:pos x="0" y="178"/>
                </a:cxn>
              </a:cxnLst>
              <a:rect l="0" t="0" r="r" b="b"/>
              <a:pathLst>
                <a:path w="356" h="357">
                  <a:moveTo>
                    <a:pt x="0" y="178"/>
                  </a:moveTo>
                  <a:cubicBezTo>
                    <a:pt x="0" y="80"/>
                    <a:pt x="79" y="0"/>
                    <a:pt x="178" y="0"/>
                  </a:cubicBezTo>
                  <a:cubicBezTo>
                    <a:pt x="178" y="0"/>
                    <a:pt x="178" y="0"/>
                    <a:pt x="178" y="0"/>
                  </a:cubicBezTo>
                  <a:cubicBezTo>
                    <a:pt x="178" y="0"/>
                    <a:pt x="178" y="0"/>
                    <a:pt x="178" y="0"/>
                  </a:cubicBezTo>
                  <a:cubicBezTo>
                    <a:pt x="276" y="0"/>
                    <a:pt x="356" y="80"/>
                    <a:pt x="356" y="178"/>
                  </a:cubicBezTo>
                  <a:cubicBezTo>
                    <a:pt x="356" y="178"/>
                    <a:pt x="356" y="178"/>
                    <a:pt x="356" y="178"/>
                  </a:cubicBezTo>
                  <a:cubicBezTo>
                    <a:pt x="356" y="178"/>
                    <a:pt x="356" y="178"/>
                    <a:pt x="356" y="178"/>
                  </a:cubicBezTo>
                  <a:cubicBezTo>
                    <a:pt x="356" y="277"/>
                    <a:pt x="276" y="357"/>
                    <a:pt x="178" y="357"/>
                  </a:cubicBezTo>
                  <a:cubicBezTo>
                    <a:pt x="178" y="357"/>
                    <a:pt x="178" y="357"/>
                    <a:pt x="178" y="357"/>
                  </a:cubicBezTo>
                  <a:cubicBezTo>
                    <a:pt x="178" y="357"/>
                    <a:pt x="178" y="357"/>
                    <a:pt x="178" y="357"/>
                  </a:cubicBezTo>
                  <a:cubicBezTo>
                    <a:pt x="79" y="357"/>
                    <a:pt x="0" y="277"/>
                    <a:pt x="0" y="178"/>
                  </a:cubicBezTo>
                  <a:cubicBezTo>
                    <a:pt x="0" y="178"/>
                    <a:pt x="0" y="178"/>
                    <a:pt x="0" y="178"/>
                  </a:cubicBezTo>
                  <a:close/>
                </a:path>
              </a:pathLst>
            </a:custGeom>
            <a:solidFill>
              <a:schemeClr val="bg1">
                <a:alpha val="25000"/>
              </a:schemeClr>
            </a:solidFill>
            <a:ln w="25400"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15"/>
            <p:cNvSpPr>
              <a:spLocks/>
            </p:cNvSpPr>
            <p:nvPr/>
          </p:nvSpPr>
          <p:spPr bwMode="auto">
            <a:xfrm>
              <a:off x="-2020094" y="2306638"/>
              <a:ext cx="1335088" cy="1339850"/>
            </a:xfrm>
            <a:custGeom>
              <a:avLst/>
              <a:gdLst/>
              <a:ahLst/>
              <a:cxnLst>
                <a:cxn ang="0">
                  <a:pos x="0" y="178"/>
                </a:cxn>
                <a:cxn ang="0">
                  <a:pos x="178" y="0"/>
                </a:cxn>
                <a:cxn ang="0">
                  <a:pos x="178" y="0"/>
                </a:cxn>
                <a:cxn ang="0">
                  <a:pos x="178" y="0"/>
                </a:cxn>
                <a:cxn ang="0">
                  <a:pos x="356" y="178"/>
                </a:cxn>
                <a:cxn ang="0">
                  <a:pos x="356" y="178"/>
                </a:cxn>
                <a:cxn ang="0">
                  <a:pos x="356" y="178"/>
                </a:cxn>
                <a:cxn ang="0">
                  <a:pos x="178" y="357"/>
                </a:cxn>
                <a:cxn ang="0">
                  <a:pos x="178" y="357"/>
                </a:cxn>
                <a:cxn ang="0">
                  <a:pos x="178" y="357"/>
                </a:cxn>
                <a:cxn ang="0">
                  <a:pos x="0" y="178"/>
                </a:cxn>
                <a:cxn ang="0">
                  <a:pos x="0" y="178"/>
                </a:cxn>
              </a:cxnLst>
              <a:rect l="0" t="0" r="r" b="b"/>
              <a:pathLst>
                <a:path w="356" h="357">
                  <a:moveTo>
                    <a:pt x="0" y="178"/>
                  </a:moveTo>
                  <a:cubicBezTo>
                    <a:pt x="0" y="80"/>
                    <a:pt x="79" y="0"/>
                    <a:pt x="178" y="0"/>
                  </a:cubicBezTo>
                  <a:cubicBezTo>
                    <a:pt x="178" y="0"/>
                    <a:pt x="178" y="0"/>
                    <a:pt x="178" y="0"/>
                  </a:cubicBezTo>
                  <a:cubicBezTo>
                    <a:pt x="178" y="0"/>
                    <a:pt x="178" y="0"/>
                    <a:pt x="178" y="0"/>
                  </a:cubicBezTo>
                  <a:cubicBezTo>
                    <a:pt x="276" y="0"/>
                    <a:pt x="356" y="80"/>
                    <a:pt x="356" y="178"/>
                  </a:cubicBezTo>
                  <a:cubicBezTo>
                    <a:pt x="356" y="178"/>
                    <a:pt x="356" y="178"/>
                    <a:pt x="356" y="178"/>
                  </a:cubicBezTo>
                  <a:cubicBezTo>
                    <a:pt x="356" y="178"/>
                    <a:pt x="356" y="178"/>
                    <a:pt x="356" y="178"/>
                  </a:cubicBezTo>
                  <a:cubicBezTo>
                    <a:pt x="356" y="277"/>
                    <a:pt x="276" y="357"/>
                    <a:pt x="178" y="357"/>
                  </a:cubicBezTo>
                  <a:cubicBezTo>
                    <a:pt x="178" y="357"/>
                    <a:pt x="178" y="357"/>
                    <a:pt x="178" y="357"/>
                  </a:cubicBezTo>
                  <a:cubicBezTo>
                    <a:pt x="178" y="357"/>
                    <a:pt x="178" y="357"/>
                    <a:pt x="178" y="357"/>
                  </a:cubicBezTo>
                  <a:cubicBezTo>
                    <a:pt x="79" y="357"/>
                    <a:pt x="0" y="277"/>
                    <a:pt x="0" y="178"/>
                  </a:cubicBezTo>
                  <a:cubicBezTo>
                    <a:pt x="0" y="178"/>
                    <a:pt x="0" y="178"/>
                    <a:pt x="0" y="178"/>
                  </a:cubicBezTo>
                  <a:close/>
                </a:path>
              </a:pathLst>
            </a:custGeom>
            <a:gradFill>
              <a:gsLst>
                <a:gs pos="0">
                  <a:schemeClr val="bg1"/>
                </a:gs>
                <a:gs pos="100000">
                  <a:schemeClr val="bg1">
                    <a:lumMod val="85000"/>
                  </a:schemeClr>
                </a:gs>
              </a:gsLst>
              <a:lin ang="5400000" scaled="0"/>
            </a:gradFill>
            <a:ln w="34925" cap="flat">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7" name="Group 36"/>
          <p:cNvGrpSpPr/>
          <p:nvPr/>
        </p:nvGrpSpPr>
        <p:grpSpPr>
          <a:xfrm>
            <a:off x="5600700" y="2998533"/>
            <a:ext cx="992241" cy="855255"/>
            <a:chOff x="-2400413" y="1974866"/>
            <a:chExt cx="2598737" cy="2239963"/>
          </a:xfrm>
        </p:grpSpPr>
        <p:grpSp>
          <p:nvGrpSpPr>
            <p:cNvPr id="38" name="Group 1517"/>
            <p:cNvGrpSpPr/>
            <p:nvPr/>
          </p:nvGrpSpPr>
          <p:grpSpPr>
            <a:xfrm>
              <a:off x="-2400413" y="1974866"/>
              <a:ext cx="2598737" cy="2239963"/>
              <a:chOff x="-2400413" y="1974866"/>
              <a:chExt cx="2598737" cy="2239963"/>
            </a:xfrm>
          </p:grpSpPr>
          <p:sp>
            <p:nvSpPr>
              <p:cNvPr id="41" name="Freeform 21"/>
              <p:cNvSpPr>
                <a:spLocks/>
              </p:cNvSpPr>
              <p:nvPr/>
            </p:nvSpPr>
            <p:spPr bwMode="auto">
              <a:xfrm>
                <a:off x="-2400413" y="2548358"/>
                <a:ext cx="2598737" cy="1643063"/>
              </a:xfrm>
              <a:custGeom>
                <a:avLst/>
                <a:gdLst/>
                <a:ahLst/>
                <a:cxnLst>
                  <a:cxn ang="0">
                    <a:pos x="691" y="184"/>
                  </a:cxn>
                  <a:cxn ang="0">
                    <a:pos x="491" y="369"/>
                  </a:cxn>
                  <a:cxn ang="0">
                    <a:pos x="491" y="369"/>
                  </a:cxn>
                  <a:cxn ang="0">
                    <a:pos x="491" y="369"/>
                  </a:cxn>
                  <a:cxn ang="0">
                    <a:pos x="268" y="438"/>
                  </a:cxn>
                  <a:cxn ang="0">
                    <a:pos x="126" y="342"/>
                  </a:cxn>
                  <a:cxn ang="0">
                    <a:pos x="126" y="342"/>
                  </a:cxn>
                  <a:cxn ang="0">
                    <a:pos x="305" y="49"/>
                  </a:cxn>
                  <a:cxn ang="0">
                    <a:pos x="305" y="49"/>
                  </a:cxn>
                  <a:cxn ang="0">
                    <a:pos x="305" y="49"/>
                  </a:cxn>
                  <a:cxn ang="0">
                    <a:pos x="691" y="184"/>
                  </a:cxn>
                  <a:cxn ang="0">
                    <a:pos x="691" y="184"/>
                  </a:cxn>
                </a:cxnLst>
                <a:rect l="0" t="0" r="r" b="b"/>
                <a:pathLst>
                  <a:path w="693" h="438">
                    <a:moveTo>
                      <a:pt x="691" y="184"/>
                    </a:moveTo>
                    <a:cubicBezTo>
                      <a:pt x="693" y="259"/>
                      <a:pt x="606" y="333"/>
                      <a:pt x="491" y="369"/>
                    </a:cubicBezTo>
                    <a:cubicBezTo>
                      <a:pt x="491" y="369"/>
                      <a:pt x="491" y="369"/>
                      <a:pt x="491" y="369"/>
                    </a:cubicBezTo>
                    <a:cubicBezTo>
                      <a:pt x="491" y="369"/>
                      <a:pt x="491" y="369"/>
                      <a:pt x="491" y="369"/>
                    </a:cubicBezTo>
                    <a:cubicBezTo>
                      <a:pt x="419" y="391"/>
                      <a:pt x="345" y="414"/>
                      <a:pt x="268" y="438"/>
                    </a:cubicBezTo>
                    <a:cubicBezTo>
                      <a:pt x="229" y="411"/>
                      <a:pt x="183" y="380"/>
                      <a:pt x="126" y="342"/>
                    </a:cubicBezTo>
                    <a:cubicBezTo>
                      <a:pt x="126" y="342"/>
                      <a:pt x="126" y="342"/>
                      <a:pt x="126" y="342"/>
                    </a:cubicBezTo>
                    <a:cubicBezTo>
                      <a:pt x="0" y="256"/>
                      <a:pt x="63" y="104"/>
                      <a:pt x="305" y="49"/>
                    </a:cubicBezTo>
                    <a:cubicBezTo>
                      <a:pt x="305" y="49"/>
                      <a:pt x="305" y="49"/>
                      <a:pt x="305" y="49"/>
                    </a:cubicBezTo>
                    <a:cubicBezTo>
                      <a:pt x="305" y="49"/>
                      <a:pt x="305" y="49"/>
                      <a:pt x="305" y="49"/>
                    </a:cubicBezTo>
                    <a:cubicBezTo>
                      <a:pt x="523" y="0"/>
                      <a:pt x="688" y="80"/>
                      <a:pt x="691" y="184"/>
                    </a:cubicBezTo>
                    <a:cubicBezTo>
                      <a:pt x="691" y="184"/>
                      <a:pt x="691" y="184"/>
                      <a:pt x="691" y="184"/>
                    </a:cubicBezTo>
                    <a:close/>
                  </a:path>
                </a:pathLst>
              </a:custGeom>
              <a:gradFill>
                <a:gsLst>
                  <a:gs pos="0">
                    <a:schemeClr val="tx1">
                      <a:lumMod val="65000"/>
                      <a:lumOff val="35000"/>
                      <a:alpha val="0"/>
                    </a:schemeClr>
                  </a:gs>
                  <a:gs pos="100000">
                    <a:schemeClr val="tx1">
                      <a:lumMod val="85000"/>
                      <a:lumOff val="15000"/>
                      <a:alpha val="52000"/>
                    </a:schemeClr>
                  </a:gs>
                </a:gsLst>
                <a:lin ang="5400000" scaled="0"/>
              </a:gradFill>
              <a:ln w="14288"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42" name="Group 1511"/>
              <p:cNvGrpSpPr/>
              <p:nvPr/>
            </p:nvGrpSpPr>
            <p:grpSpPr>
              <a:xfrm>
                <a:off x="-2342357" y="1974866"/>
                <a:ext cx="1957388" cy="2239963"/>
                <a:chOff x="-1674813" y="1987550"/>
                <a:chExt cx="1957388" cy="2239963"/>
              </a:xfrm>
            </p:grpSpPr>
            <p:sp>
              <p:nvSpPr>
                <p:cNvPr id="43" name="Freeform 14"/>
                <p:cNvSpPr>
                  <a:spLocks/>
                </p:cNvSpPr>
                <p:nvPr/>
              </p:nvSpPr>
              <p:spPr bwMode="auto">
                <a:xfrm>
                  <a:off x="-1674813" y="1987550"/>
                  <a:ext cx="1957388" cy="2239963"/>
                </a:xfrm>
                <a:custGeom>
                  <a:avLst/>
                  <a:gdLst/>
                  <a:ahLst/>
                  <a:cxnLst>
                    <a:cxn ang="0">
                      <a:pos x="429" y="93"/>
                    </a:cxn>
                    <a:cxn ang="0">
                      <a:pos x="429" y="429"/>
                    </a:cxn>
                    <a:cxn ang="0">
                      <a:pos x="429" y="429"/>
                    </a:cxn>
                    <a:cxn ang="0">
                      <a:pos x="429" y="429"/>
                    </a:cxn>
                    <a:cxn ang="0">
                      <a:pos x="261" y="597"/>
                    </a:cxn>
                    <a:cxn ang="0">
                      <a:pos x="93" y="429"/>
                    </a:cxn>
                    <a:cxn ang="0">
                      <a:pos x="93" y="429"/>
                    </a:cxn>
                    <a:cxn ang="0">
                      <a:pos x="93" y="93"/>
                    </a:cxn>
                    <a:cxn ang="0">
                      <a:pos x="93" y="93"/>
                    </a:cxn>
                    <a:cxn ang="0">
                      <a:pos x="93" y="93"/>
                    </a:cxn>
                    <a:cxn ang="0">
                      <a:pos x="429" y="93"/>
                    </a:cxn>
                    <a:cxn ang="0">
                      <a:pos x="429" y="93"/>
                    </a:cxn>
                  </a:cxnLst>
                  <a:rect l="0" t="0" r="r" b="b"/>
                  <a:pathLst>
                    <a:path w="522" h="597">
                      <a:moveTo>
                        <a:pt x="429" y="93"/>
                      </a:moveTo>
                      <a:cubicBezTo>
                        <a:pt x="522" y="185"/>
                        <a:pt x="522" y="336"/>
                        <a:pt x="429" y="429"/>
                      </a:cubicBezTo>
                      <a:cubicBezTo>
                        <a:pt x="429" y="429"/>
                        <a:pt x="429" y="429"/>
                        <a:pt x="429" y="429"/>
                      </a:cubicBezTo>
                      <a:cubicBezTo>
                        <a:pt x="429" y="429"/>
                        <a:pt x="429" y="429"/>
                        <a:pt x="429" y="429"/>
                      </a:cubicBezTo>
                      <a:cubicBezTo>
                        <a:pt x="373" y="485"/>
                        <a:pt x="317" y="541"/>
                        <a:pt x="261" y="597"/>
                      </a:cubicBezTo>
                      <a:cubicBezTo>
                        <a:pt x="205" y="541"/>
                        <a:pt x="149" y="485"/>
                        <a:pt x="93" y="429"/>
                      </a:cubicBezTo>
                      <a:cubicBezTo>
                        <a:pt x="93" y="429"/>
                        <a:pt x="93" y="429"/>
                        <a:pt x="93" y="429"/>
                      </a:cubicBezTo>
                      <a:cubicBezTo>
                        <a:pt x="0" y="336"/>
                        <a:pt x="0" y="185"/>
                        <a:pt x="93" y="93"/>
                      </a:cubicBezTo>
                      <a:cubicBezTo>
                        <a:pt x="93" y="93"/>
                        <a:pt x="93" y="93"/>
                        <a:pt x="93" y="93"/>
                      </a:cubicBezTo>
                      <a:cubicBezTo>
                        <a:pt x="93" y="93"/>
                        <a:pt x="93" y="93"/>
                        <a:pt x="93" y="93"/>
                      </a:cubicBezTo>
                      <a:cubicBezTo>
                        <a:pt x="186" y="0"/>
                        <a:pt x="336" y="0"/>
                        <a:pt x="429" y="93"/>
                      </a:cubicBezTo>
                      <a:cubicBezTo>
                        <a:pt x="429" y="93"/>
                        <a:pt x="429" y="93"/>
                        <a:pt x="429" y="93"/>
                      </a:cubicBezTo>
                      <a:close/>
                    </a:path>
                  </a:pathLst>
                </a:custGeom>
                <a:gradFill>
                  <a:gsLst>
                    <a:gs pos="0">
                      <a:schemeClr val="accent4">
                        <a:lumMod val="60000"/>
                        <a:lumOff val="40000"/>
                      </a:schemeClr>
                    </a:gs>
                    <a:gs pos="100000">
                      <a:schemeClr val="accent4"/>
                    </a:gs>
                  </a:gsLst>
                  <a:lin ang="5400000" scaled="0"/>
                </a:gradFill>
                <a:ln w="15875"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16"/>
                <p:cNvSpPr>
                  <a:spLocks/>
                </p:cNvSpPr>
                <p:nvPr/>
              </p:nvSpPr>
              <p:spPr bwMode="auto">
                <a:xfrm>
                  <a:off x="-1674813" y="2073275"/>
                  <a:ext cx="977900" cy="2154238"/>
                </a:xfrm>
                <a:custGeom>
                  <a:avLst/>
                  <a:gdLst/>
                  <a:ahLst/>
                  <a:cxnLst>
                    <a:cxn ang="0">
                      <a:pos x="261" y="0"/>
                    </a:cxn>
                    <a:cxn ang="0">
                      <a:pos x="93" y="70"/>
                    </a:cxn>
                    <a:cxn ang="0">
                      <a:pos x="93" y="406"/>
                    </a:cxn>
                    <a:cxn ang="0">
                      <a:pos x="261" y="574"/>
                    </a:cxn>
                    <a:cxn ang="0">
                      <a:pos x="261" y="0"/>
                    </a:cxn>
                  </a:cxnLst>
                  <a:rect l="0" t="0" r="r" b="b"/>
                  <a:pathLst>
                    <a:path w="261" h="574">
                      <a:moveTo>
                        <a:pt x="261" y="0"/>
                      </a:moveTo>
                      <a:cubicBezTo>
                        <a:pt x="200" y="0"/>
                        <a:pt x="139" y="23"/>
                        <a:pt x="93" y="70"/>
                      </a:cubicBezTo>
                      <a:cubicBezTo>
                        <a:pt x="0" y="162"/>
                        <a:pt x="0" y="313"/>
                        <a:pt x="93" y="406"/>
                      </a:cubicBezTo>
                      <a:cubicBezTo>
                        <a:pt x="149" y="462"/>
                        <a:pt x="205" y="518"/>
                        <a:pt x="261" y="574"/>
                      </a:cubicBezTo>
                      <a:lnTo>
                        <a:pt x="261" y="0"/>
                      </a:lnTo>
                      <a:close/>
                    </a:path>
                  </a:pathLst>
                </a:custGeom>
                <a:solidFill>
                  <a:schemeClr val="accent4">
                    <a:lumMod val="20000"/>
                    <a:lumOff val="80000"/>
                    <a:alpha val="28000"/>
                  </a:schemeClr>
                </a:solidFill>
                <a:ln w="15875"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39" name="Freeform 15"/>
            <p:cNvSpPr>
              <a:spLocks/>
            </p:cNvSpPr>
            <p:nvPr/>
          </p:nvSpPr>
          <p:spPr bwMode="auto">
            <a:xfrm>
              <a:off x="-2031207" y="2101456"/>
              <a:ext cx="1335088" cy="1066288"/>
            </a:xfrm>
            <a:custGeom>
              <a:avLst/>
              <a:gdLst/>
              <a:ahLst/>
              <a:cxnLst>
                <a:cxn ang="0">
                  <a:pos x="0" y="178"/>
                </a:cxn>
                <a:cxn ang="0">
                  <a:pos x="178" y="0"/>
                </a:cxn>
                <a:cxn ang="0">
                  <a:pos x="178" y="0"/>
                </a:cxn>
                <a:cxn ang="0">
                  <a:pos x="178" y="0"/>
                </a:cxn>
                <a:cxn ang="0">
                  <a:pos x="356" y="178"/>
                </a:cxn>
                <a:cxn ang="0">
                  <a:pos x="356" y="178"/>
                </a:cxn>
                <a:cxn ang="0">
                  <a:pos x="356" y="178"/>
                </a:cxn>
                <a:cxn ang="0">
                  <a:pos x="178" y="357"/>
                </a:cxn>
                <a:cxn ang="0">
                  <a:pos x="178" y="357"/>
                </a:cxn>
                <a:cxn ang="0">
                  <a:pos x="178" y="357"/>
                </a:cxn>
                <a:cxn ang="0">
                  <a:pos x="0" y="178"/>
                </a:cxn>
                <a:cxn ang="0">
                  <a:pos x="0" y="178"/>
                </a:cxn>
              </a:cxnLst>
              <a:rect l="0" t="0" r="r" b="b"/>
              <a:pathLst>
                <a:path w="356" h="357">
                  <a:moveTo>
                    <a:pt x="0" y="178"/>
                  </a:moveTo>
                  <a:cubicBezTo>
                    <a:pt x="0" y="80"/>
                    <a:pt x="79" y="0"/>
                    <a:pt x="178" y="0"/>
                  </a:cubicBezTo>
                  <a:cubicBezTo>
                    <a:pt x="178" y="0"/>
                    <a:pt x="178" y="0"/>
                    <a:pt x="178" y="0"/>
                  </a:cubicBezTo>
                  <a:cubicBezTo>
                    <a:pt x="178" y="0"/>
                    <a:pt x="178" y="0"/>
                    <a:pt x="178" y="0"/>
                  </a:cubicBezTo>
                  <a:cubicBezTo>
                    <a:pt x="276" y="0"/>
                    <a:pt x="356" y="80"/>
                    <a:pt x="356" y="178"/>
                  </a:cubicBezTo>
                  <a:cubicBezTo>
                    <a:pt x="356" y="178"/>
                    <a:pt x="356" y="178"/>
                    <a:pt x="356" y="178"/>
                  </a:cubicBezTo>
                  <a:cubicBezTo>
                    <a:pt x="356" y="178"/>
                    <a:pt x="356" y="178"/>
                    <a:pt x="356" y="178"/>
                  </a:cubicBezTo>
                  <a:cubicBezTo>
                    <a:pt x="356" y="277"/>
                    <a:pt x="276" y="357"/>
                    <a:pt x="178" y="357"/>
                  </a:cubicBezTo>
                  <a:cubicBezTo>
                    <a:pt x="178" y="357"/>
                    <a:pt x="178" y="357"/>
                    <a:pt x="178" y="357"/>
                  </a:cubicBezTo>
                  <a:cubicBezTo>
                    <a:pt x="178" y="357"/>
                    <a:pt x="178" y="357"/>
                    <a:pt x="178" y="357"/>
                  </a:cubicBezTo>
                  <a:cubicBezTo>
                    <a:pt x="79" y="357"/>
                    <a:pt x="0" y="277"/>
                    <a:pt x="0" y="178"/>
                  </a:cubicBezTo>
                  <a:cubicBezTo>
                    <a:pt x="0" y="178"/>
                    <a:pt x="0" y="178"/>
                    <a:pt x="0" y="178"/>
                  </a:cubicBezTo>
                  <a:close/>
                </a:path>
              </a:pathLst>
            </a:custGeom>
            <a:solidFill>
              <a:schemeClr val="bg1">
                <a:alpha val="25000"/>
              </a:schemeClr>
            </a:solidFill>
            <a:ln w="25400"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p:cNvSpPr>
            <p:nvPr/>
          </p:nvSpPr>
          <p:spPr bwMode="auto">
            <a:xfrm>
              <a:off x="-2020094" y="2306638"/>
              <a:ext cx="1335088" cy="1339850"/>
            </a:xfrm>
            <a:custGeom>
              <a:avLst/>
              <a:gdLst/>
              <a:ahLst/>
              <a:cxnLst>
                <a:cxn ang="0">
                  <a:pos x="0" y="178"/>
                </a:cxn>
                <a:cxn ang="0">
                  <a:pos x="178" y="0"/>
                </a:cxn>
                <a:cxn ang="0">
                  <a:pos x="178" y="0"/>
                </a:cxn>
                <a:cxn ang="0">
                  <a:pos x="178" y="0"/>
                </a:cxn>
                <a:cxn ang="0">
                  <a:pos x="356" y="178"/>
                </a:cxn>
                <a:cxn ang="0">
                  <a:pos x="356" y="178"/>
                </a:cxn>
                <a:cxn ang="0">
                  <a:pos x="356" y="178"/>
                </a:cxn>
                <a:cxn ang="0">
                  <a:pos x="178" y="357"/>
                </a:cxn>
                <a:cxn ang="0">
                  <a:pos x="178" y="357"/>
                </a:cxn>
                <a:cxn ang="0">
                  <a:pos x="178" y="357"/>
                </a:cxn>
                <a:cxn ang="0">
                  <a:pos x="0" y="178"/>
                </a:cxn>
                <a:cxn ang="0">
                  <a:pos x="0" y="178"/>
                </a:cxn>
              </a:cxnLst>
              <a:rect l="0" t="0" r="r" b="b"/>
              <a:pathLst>
                <a:path w="356" h="357">
                  <a:moveTo>
                    <a:pt x="0" y="178"/>
                  </a:moveTo>
                  <a:cubicBezTo>
                    <a:pt x="0" y="80"/>
                    <a:pt x="79" y="0"/>
                    <a:pt x="178" y="0"/>
                  </a:cubicBezTo>
                  <a:cubicBezTo>
                    <a:pt x="178" y="0"/>
                    <a:pt x="178" y="0"/>
                    <a:pt x="178" y="0"/>
                  </a:cubicBezTo>
                  <a:cubicBezTo>
                    <a:pt x="178" y="0"/>
                    <a:pt x="178" y="0"/>
                    <a:pt x="178" y="0"/>
                  </a:cubicBezTo>
                  <a:cubicBezTo>
                    <a:pt x="276" y="0"/>
                    <a:pt x="356" y="80"/>
                    <a:pt x="356" y="178"/>
                  </a:cubicBezTo>
                  <a:cubicBezTo>
                    <a:pt x="356" y="178"/>
                    <a:pt x="356" y="178"/>
                    <a:pt x="356" y="178"/>
                  </a:cubicBezTo>
                  <a:cubicBezTo>
                    <a:pt x="356" y="178"/>
                    <a:pt x="356" y="178"/>
                    <a:pt x="356" y="178"/>
                  </a:cubicBezTo>
                  <a:cubicBezTo>
                    <a:pt x="356" y="277"/>
                    <a:pt x="276" y="357"/>
                    <a:pt x="178" y="357"/>
                  </a:cubicBezTo>
                  <a:cubicBezTo>
                    <a:pt x="178" y="357"/>
                    <a:pt x="178" y="357"/>
                    <a:pt x="178" y="357"/>
                  </a:cubicBezTo>
                  <a:cubicBezTo>
                    <a:pt x="178" y="357"/>
                    <a:pt x="178" y="357"/>
                    <a:pt x="178" y="357"/>
                  </a:cubicBezTo>
                  <a:cubicBezTo>
                    <a:pt x="79" y="357"/>
                    <a:pt x="0" y="277"/>
                    <a:pt x="0" y="178"/>
                  </a:cubicBezTo>
                  <a:cubicBezTo>
                    <a:pt x="0" y="178"/>
                    <a:pt x="0" y="178"/>
                    <a:pt x="0" y="178"/>
                  </a:cubicBezTo>
                  <a:close/>
                </a:path>
              </a:pathLst>
            </a:custGeom>
            <a:gradFill>
              <a:gsLst>
                <a:gs pos="0">
                  <a:schemeClr val="bg1"/>
                </a:gs>
                <a:gs pos="100000">
                  <a:schemeClr val="bg1">
                    <a:lumMod val="85000"/>
                  </a:schemeClr>
                </a:gs>
              </a:gsLst>
              <a:lin ang="5400000" scaled="0"/>
            </a:gradFill>
            <a:ln w="34925" cap="flat">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4" name="Group 73"/>
          <p:cNvGrpSpPr/>
          <p:nvPr/>
        </p:nvGrpSpPr>
        <p:grpSpPr>
          <a:xfrm>
            <a:off x="1548498" y="5194756"/>
            <a:ext cx="585102" cy="215444"/>
            <a:chOff x="1492622" y="5185231"/>
            <a:chExt cx="585102" cy="215444"/>
          </a:xfrm>
        </p:grpSpPr>
        <p:sp>
          <p:nvSpPr>
            <p:cNvPr id="50" name="Rectangle 49"/>
            <p:cNvSpPr/>
            <p:nvPr/>
          </p:nvSpPr>
          <p:spPr>
            <a:xfrm>
              <a:off x="1492622" y="5185231"/>
              <a:ext cx="444128" cy="215444"/>
            </a:xfrm>
            <a:prstGeom prst="rect">
              <a:avLst/>
            </a:prstGeom>
          </p:spPr>
          <p:txBody>
            <a:bodyPr wrap="square" lIns="0" tIns="0" rIns="0" bIns="0">
              <a:spAutoFit/>
            </a:bodyPr>
            <a:lstStyle/>
            <a:p>
              <a:pPr lvl="0" algn="r" defTabSz="488950">
                <a:spcBef>
                  <a:spcPct val="0"/>
                </a:spcBef>
                <a:spcAft>
                  <a:spcPts val="200"/>
                </a:spcAft>
              </a:pPr>
              <a:r>
                <a:rPr lang="en-US" sz="1400" b="1" dirty="0">
                  <a:solidFill>
                    <a:schemeClr val="accent1">
                      <a:lumMod val="75000"/>
                    </a:schemeClr>
                  </a:solidFill>
                  <a:latin typeface="Arial" pitchFamily="34" charset="0"/>
                  <a:cs typeface="Arial" pitchFamily="34" charset="0"/>
                </a:rPr>
                <a:t>2010</a:t>
              </a:r>
            </a:p>
          </p:txBody>
        </p:sp>
        <p:sp>
          <p:nvSpPr>
            <p:cNvPr id="51" name="Isosceles Triangle 50"/>
            <p:cNvSpPr/>
            <p:nvPr/>
          </p:nvSpPr>
          <p:spPr bwMode="auto">
            <a:xfrm rot="16200000">
              <a:off x="1961034" y="5246279"/>
              <a:ext cx="140032" cy="93349"/>
            </a:xfrm>
            <a:prstGeom prst="triangle">
              <a:avLst/>
            </a:prstGeom>
            <a:solidFill>
              <a:schemeClr val="bg2">
                <a:lumMod val="7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sp>
        <p:nvSpPr>
          <p:cNvPr id="54" name="Rectangle 46"/>
          <p:cNvSpPr/>
          <p:nvPr/>
        </p:nvSpPr>
        <p:spPr>
          <a:xfrm>
            <a:off x="2941742" y="2057400"/>
            <a:ext cx="1979709" cy="2631490"/>
          </a:xfrm>
          <a:prstGeom prst="rect">
            <a:avLst/>
          </a:pr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none" lIns="0" tIns="0" rIns="0" bIns="0" numCol="1" spcCol="1270" anchor="t" anchorCtr="0">
            <a:spAutoFit/>
          </a:bodyPr>
          <a:lstStyle/>
          <a:p>
            <a:pPr lvl="0" defTabSz="488950">
              <a:spcBef>
                <a:spcPct val="0"/>
              </a:spcBef>
              <a:spcAft>
                <a:spcPts val="200"/>
              </a:spcAft>
            </a:pPr>
            <a:r>
              <a:rPr lang="en-US" sz="1200" b="1" dirty="0">
                <a:solidFill>
                  <a:schemeClr val="accent1">
                    <a:lumMod val="75000"/>
                  </a:schemeClr>
                </a:solidFill>
                <a:latin typeface="Arial" pitchFamily="34" charset="0"/>
                <a:cs typeface="Arial" pitchFamily="34" charset="0"/>
              </a:rPr>
              <a:t>SESP Version 3. 14 to 3.27</a:t>
            </a:r>
          </a:p>
          <a:p>
            <a:pPr defTabSz="488950">
              <a:spcBef>
                <a:spcPct val="0"/>
              </a:spcBef>
              <a:spcAft>
                <a:spcPts val="200"/>
              </a:spcAft>
            </a:pPr>
            <a:r>
              <a:rPr lang="en-US" sz="1200" b="1" dirty="0">
                <a:solidFill>
                  <a:schemeClr val="tx2"/>
                </a:solidFill>
                <a:latin typeface="Arial" pitchFamily="34" charset="0"/>
                <a:cs typeface="Arial" pitchFamily="34" charset="0"/>
              </a:rPr>
              <a:t>New Features</a:t>
            </a:r>
            <a:r>
              <a:rPr lang="en-US" sz="1200" b="1" kern="1200" dirty="0">
                <a:solidFill>
                  <a:schemeClr val="tx2"/>
                </a:solidFill>
                <a:latin typeface="Arial" pitchFamily="34" charset="0"/>
                <a:cs typeface="Arial" pitchFamily="34" charset="0"/>
              </a:rPr>
              <a:t> –</a:t>
            </a:r>
          </a:p>
          <a:p>
            <a:pPr marL="228600" lvl="0" indent="-228600" defTabSz="488950">
              <a:spcBef>
                <a:spcPct val="0"/>
              </a:spcBef>
              <a:spcAft>
                <a:spcPts val="200"/>
              </a:spcAft>
              <a:buClr>
                <a:schemeClr val="accent1"/>
              </a:buClr>
              <a:buFont typeface="Wingdings" pitchFamily="2" charset="2"/>
              <a:buChar char="§"/>
            </a:pPr>
            <a:r>
              <a:rPr lang="en-US" sz="1200" dirty="0">
                <a:solidFill>
                  <a:schemeClr val="tx2"/>
                </a:solidFill>
                <a:latin typeface="Arial" pitchFamily="34" charset="0"/>
                <a:cs typeface="Arial" pitchFamily="34" charset="0"/>
              </a:rPr>
              <a:t>Material &amp; Logistics </a:t>
            </a:r>
          </a:p>
          <a:p>
            <a:pPr marL="228600" lvl="0" indent="-228600" defTabSz="488950">
              <a:spcBef>
                <a:spcPct val="0"/>
              </a:spcBef>
              <a:spcAft>
                <a:spcPts val="200"/>
              </a:spcAft>
              <a:buClr>
                <a:schemeClr val="accent1"/>
              </a:buClr>
              <a:buFont typeface="Wingdings" pitchFamily="2" charset="2"/>
              <a:buChar char="§"/>
            </a:pPr>
            <a:r>
              <a:rPr lang="en-US" sz="1200" dirty="0">
                <a:solidFill>
                  <a:schemeClr val="tx2"/>
                </a:solidFill>
                <a:latin typeface="Arial" pitchFamily="34" charset="0"/>
                <a:cs typeface="Arial" pitchFamily="34" charset="0"/>
              </a:rPr>
              <a:t>Web Portal Reporting </a:t>
            </a:r>
            <a:br>
              <a:rPr lang="en-US" sz="1200" dirty="0">
                <a:solidFill>
                  <a:schemeClr val="tx2"/>
                </a:solidFill>
                <a:latin typeface="Arial" pitchFamily="34" charset="0"/>
                <a:cs typeface="Arial" pitchFamily="34" charset="0"/>
              </a:rPr>
            </a:br>
            <a:r>
              <a:rPr lang="en-US" sz="1200" dirty="0">
                <a:solidFill>
                  <a:schemeClr val="tx2"/>
                </a:solidFill>
                <a:latin typeface="Arial" pitchFamily="34" charset="0"/>
                <a:cs typeface="Arial" pitchFamily="34" charset="0"/>
              </a:rPr>
              <a:t>Platform</a:t>
            </a:r>
          </a:p>
          <a:p>
            <a:pPr marL="228600" lvl="0" indent="-228600" defTabSz="488950">
              <a:spcBef>
                <a:spcPct val="0"/>
              </a:spcBef>
              <a:spcAft>
                <a:spcPts val="200"/>
              </a:spcAft>
              <a:buClr>
                <a:schemeClr val="accent1"/>
              </a:buClr>
              <a:buFont typeface="Wingdings" pitchFamily="2" charset="2"/>
              <a:buChar char="§"/>
            </a:pPr>
            <a:r>
              <a:rPr lang="en-US" sz="1200" dirty="0">
                <a:solidFill>
                  <a:schemeClr val="tx2"/>
                </a:solidFill>
                <a:latin typeface="Arial" pitchFamily="34" charset="0"/>
                <a:cs typeface="Arial" pitchFamily="34" charset="0"/>
              </a:rPr>
              <a:t>Meter value delivery SLA</a:t>
            </a:r>
          </a:p>
          <a:p>
            <a:pPr marL="228600" lvl="0" indent="-228600" defTabSz="488950">
              <a:spcBef>
                <a:spcPct val="0"/>
              </a:spcBef>
              <a:spcAft>
                <a:spcPts val="200"/>
              </a:spcAft>
            </a:pPr>
            <a:r>
              <a:rPr lang="en-US" sz="1200" dirty="0">
                <a:solidFill>
                  <a:schemeClr val="tx2"/>
                </a:solidFill>
                <a:latin typeface="Arial" pitchFamily="34" charset="0"/>
                <a:cs typeface="Arial" pitchFamily="34" charset="0"/>
              </a:rPr>
              <a:t>Meter Data Management</a:t>
            </a:r>
          </a:p>
          <a:p>
            <a:pPr marL="228600" lvl="0" indent="-228600" defTabSz="488950">
              <a:spcBef>
                <a:spcPct val="0"/>
              </a:spcBef>
              <a:spcAft>
                <a:spcPts val="200"/>
              </a:spcAft>
              <a:buClr>
                <a:schemeClr val="accent1"/>
              </a:buClr>
              <a:buFont typeface="Wingdings" pitchFamily="2" charset="2"/>
              <a:buChar char="§"/>
            </a:pPr>
            <a:r>
              <a:rPr lang="en-US" sz="1200" dirty="0">
                <a:solidFill>
                  <a:schemeClr val="tx2"/>
                </a:solidFill>
                <a:latin typeface="Arial" pitchFamily="34" charset="0"/>
                <a:cs typeface="Arial" pitchFamily="34" charset="0"/>
              </a:rPr>
              <a:t>Interpolation </a:t>
            </a:r>
            <a:br>
              <a:rPr lang="en-US" sz="1200" dirty="0">
                <a:solidFill>
                  <a:schemeClr val="tx2"/>
                </a:solidFill>
                <a:latin typeface="Arial" pitchFamily="34" charset="0"/>
                <a:cs typeface="Arial" pitchFamily="34" charset="0"/>
              </a:rPr>
            </a:br>
            <a:r>
              <a:rPr lang="en-US" sz="1200" dirty="0">
                <a:solidFill>
                  <a:schemeClr val="tx2"/>
                </a:solidFill>
                <a:latin typeface="Arial" pitchFamily="34" charset="0"/>
                <a:cs typeface="Arial" pitchFamily="34" charset="0"/>
              </a:rPr>
              <a:t>and extrapolation</a:t>
            </a:r>
          </a:p>
          <a:p>
            <a:pPr marL="228600" lvl="0" indent="-228600" defTabSz="488950">
              <a:spcBef>
                <a:spcPct val="0"/>
              </a:spcBef>
              <a:spcAft>
                <a:spcPts val="200"/>
              </a:spcAft>
            </a:pPr>
            <a:r>
              <a:rPr lang="en-US" sz="1200" b="1" dirty="0">
                <a:solidFill>
                  <a:schemeClr val="tx2"/>
                </a:solidFill>
                <a:latin typeface="Arial" pitchFamily="34" charset="0"/>
                <a:cs typeface="Arial" pitchFamily="34" charset="0"/>
              </a:rPr>
              <a:t>Enhancements –</a:t>
            </a:r>
          </a:p>
          <a:p>
            <a:pPr marL="228600" lvl="0" indent="-228600" defTabSz="488950">
              <a:spcBef>
                <a:spcPct val="0"/>
              </a:spcBef>
              <a:spcAft>
                <a:spcPts val="200"/>
              </a:spcAft>
              <a:buClr>
                <a:schemeClr val="accent1"/>
              </a:buClr>
              <a:buFont typeface="Wingdings" pitchFamily="2" charset="2"/>
              <a:buChar char="§"/>
            </a:pPr>
            <a:r>
              <a:rPr lang="en-US" sz="1200" dirty="0">
                <a:solidFill>
                  <a:schemeClr val="tx2"/>
                </a:solidFill>
                <a:latin typeface="Arial" pitchFamily="34" charset="0"/>
                <a:cs typeface="Arial" pitchFamily="34" charset="0"/>
              </a:rPr>
              <a:t>Time reservation </a:t>
            </a:r>
            <a:br>
              <a:rPr lang="en-US" sz="1200" dirty="0">
                <a:solidFill>
                  <a:schemeClr val="tx2"/>
                </a:solidFill>
                <a:latin typeface="Arial" pitchFamily="34" charset="0"/>
                <a:cs typeface="Arial" pitchFamily="34" charset="0"/>
              </a:rPr>
            </a:br>
            <a:r>
              <a:rPr lang="en-US" sz="1200" dirty="0">
                <a:solidFill>
                  <a:schemeClr val="tx2"/>
                </a:solidFill>
                <a:latin typeface="Arial" pitchFamily="34" charset="0"/>
                <a:cs typeface="Arial" pitchFamily="34" charset="0"/>
              </a:rPr>
              <a:t>by Technician</a:t>
            </a:r>
          </a:p>
          <a:p>
            <a:pPr marL="228600" lvl="0" indent="-228600" defTabSz="488950">
              <a:spcBef>
                <a:spcPct val="0"/>
              </a:spcBef>
              <a:spcAft>
                <a:spcPts val="200"/>
              </a:spcAft>
              <a:buClr>
                <a:schemeClr val="accent1"/>
              </a:buClr>
              <a:buFont typeface="Wingdings" pitchFamily="2" charset="2"/>
              <a:buChar char="§"/>
            </a:pPr>
            <a:r>
              <a:rPr lang="en-US" sz="1200" dirty="0">
                <a:solidFill>
                  <a:schemeClr val="tx2"/>
                </a:solidFill>
                <a:latin typeface="Arial" pitchFamily="34" charset="0"/>
                <a:cs typeface="Arial" pitchFamily="34" charset="0"/>
              </a:rPr>
              <a:t> Plotting Stock Sites</a:t>
            </a:r>
          </a:p>
        </p:txBody>
      </p:sp>
      <p:sp>
        <p:nvSpPr>
          <p:cNvPr id="57" name="Rectangle 46"/>
          <p:cNvSpPr/>
          <p:nvPr/>
        </p:nvSpPr>
        <p:spPr>
          <a:xfrm>
            <a:off x="6880166" y="3822930"/>
            <a:ext cx="2886076" cy="2313454"/>
          </a:xfrm>
          <a:prstGeom prst="rect">
            <a:avLst/>
          </a:pr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1">
            <a:spAutoFit/>
          </a:bodyPr>
          <a:lstStyle/>
          <a:p>
            <a:pPr defTabSz="488950">
              <a:spcBef>
                <a:spcPct val="0"/>
              </a:spcBef>
              <a:spcAft>
                <a:spcPts val="200"/>
              </a:spcAft>
            </a:pPr>
            <a:r>
              <a:rPr lang="en-US" sz="1200" b="1" dirty="0">
                <a:solidFill>
                  <a:schemeClr val="accent1">
                    <a:lumMod val="75000"/>
                  </a:schemeClr>
                </a:solidFill>
                <a:latin typeface="Arial" pitchFamily="34" charset="0"/>
                <a:cs typeface="Arial" pitchFamily="34" charset="0"/>
              </a:rPr>
              <a:t>SESP Version 4.0 to 4.3</a:t>
            </a:r>
          </a:p>
          <a:p>
            <a:pPr marL="228600" indent="-228600" defTabSz="488950">
              <a:spcBef>
                <a:spcPct val="0"/>
              </a:spcBef>
              <a:spcAft>
                <a:spcPts val="200"/>
              </a:spcAft>
            </a:pPr>
            <a:r>
              <a:rPr lang="en-US" sz="1000" b="1" dirty="0">
                <a:solidFill>
                  <a:schemeClr val="tx2"/>
                </a:solidFill>
                <a:latin typeface="Arial" pitchFamily="34" charset="0"/>
                <a:cs typeface="Arial" pitchFamily="34" charset="0"/>
              </a:rPr>
              <a:t>New Features –</a:t>
            </a:r>
          </a:p>
          <a:p>
            <a:pPr marL="228600" indent="-228600" defTabSz="488950">
              <a:spcBef>
                <a:spcPct val="0"/>
              </a:spcBef>
              <a:spcAft>
                <a:spcPts val="200"/>
              </a:spcAft>
            </a:pPr>
            <a:r>
              <a:rPr lang="en-US" sz="1000" dirty="0">
                <a:solidFill>
                  <a:schemeClr val="tx2"/>
                </a:solidFill>
                <a:latin typeface="Arial" pitchFamily="34" charset="0"/>
                <a:cs typeface="Arial" pitchFamily="34" charset="0"/>
              </a:rPr>
              <a:t>GDPR implementation</a:t>
            </a:r>
          </a:p>
          <a:p>
            <a:pPr marL="228600" indent="-228600" defTabSz="488950">
              <a:spcBef>
                <a:spcPct val="0"/>
              </a:spcBef>
              <a:spcAft>
                <a:spcPts val="200"/>
              </a:spcAft>
            </a:pPr>
            <a:r>
              <a:rPr lang="en-US" sz="1000" dirty="0">
                <a:solidFill>
                  <a:schemeClr val="tx2"/>
                </a:solidFill>
                <a:latin typeface="Arial" pitchFamily="34" charset="0"/>
                <a:cs typeface="Arial" pitchFamily="34" charset="0"/>
              </a:rPr>
              <a:t>Operational dashboard, Non communicating report</a:t>
            </a:r>
          </a:p>
          <a:p>
            <a:pPr defTabSz="488950">
              <a:spcBef>
                <a:spcPct val="0"/>
              </a:spcBef>
              <a:spcAft>
                <a:spcPts val="200"/>
              </a:spcAft>
            </a:pPr>
            <a:r>
              <a:rPr lang="en-US" sz="1000" dirty="0">
                <a:solidFill>
                  <a:schemeClr val="tx2"/>
                </a:solidFill>
                <a:latin typeface="Arial" pitchFamily="34" charset="0"/>
                <a:cs typeface="Arial" pitchFamily="34" charset="0"/>
              </a:rPr>
              <a:t>Material Logistic Module &amp; Operation </a:t>
            </a:r>
            <a:br>
              <a:rPr lang="en-US" sz="1000" dirty="0">
                <a:solidFill>
                  <a:schemeClr val="tx2"/>
                </a:solidFill>
                <a:latin typeface="Arial" pitchFamily="34" charset="0"/>
                <a:cs typeface="Arial" pitchFamily="34" charset="0"/>
              </a:rPr>
            </a:br>
            <a:r>
              <a:rPr lang="en-US" sz="1000" dirty="0">
                <a:solidFill>
                  <a:schemeClr val="tx2"/>
                </a:solidFill>
                <a:latin typeface="Arial" pitchFamily="34" charset="0"/>
                <a:cs typeface="Arial" pitchFamily="34" charset="0"/>
              </a:rPr>
              <a:t>Android For Field Workforce Automation</a:t>
            </a:r>
          </a:p>
          <a:p>
            <a:pPr marL="228600" indent="-228600" defTabSz="488950">
              <a:spcBef>
                <a:spcPct val="0"/>
              </a:spcBef>
              <a:spcAft>
                <a:spcPts val="200"/>
              </a:spcAft>
              <a:buClr>
                <a:schemeClr val="accent1"/>
              </a:buClr>
              <a:buFont typeface="Wingdings" pitchFamily="2" charset="2"/>
              <a:buChar char="§"/>
            </a:pPr>
            <a:r>
              <a:rPr lang="en-US" sz="1000" dirty="0">
                <a:solidFill>
                  <a:schemeClr val="tx2"/>
                </a:solidFill>
                <a:latin typeface="Arial" pitchFamily="34" charset="0"/>
                <a:cs typeface="Arial" pitchFamily="34" charset="0"/>
              </a:rPr>
              <a:t>GEO Fabric Map Integration</a:t>
            </a:r>
          </a:p>
          <a:p>
            <a:pPr marL="228600" indent="-228600" defTabSz="488950">
              <a:spcBef>
                <a:spcPct val="0"/>
              </a:spcBef>
              <a:spcAft>
                <a:spcPts val="200"/>
              </a:spcAft>
              <a:buClr>
                <a:schemeClr val="accent1"/>
              </a:buClr>
              <a:buFont typeface="Wingdings" pitchFamily="2" charset="2"/>
              <a:buChar char="§"/>
            </a:pPr>
            <a:r>
              <a:rPr lang="en-US" sz="1000" dirty="0">
                <a:solidFill>
                  <a:schemeClr val="tx2"/>
                </a:solidFill>
                <a:latin typeface="Arial" pitchFamily="34" charset="0"/>
                <a:cs typeface="Arial" pitchFamily="34" charset="0"/>
              </a:rPr>
              <a:t>Manage Units on Installation</a:t>
            </a:r>
          </a:p>
          <a:p>
            <a:pPr marL="228600" indent="-228600" defTabSz="488950">
              <a:spcBef>
                <a:spcPct val="0"/>
              </a:spcBef>
              <a:spcAft>
                <a:spcPts val="200"/>
              </a:spcAft>
              <a:buClr>
                <a:schemeClr val="accent1"/>
              </a:buClr>
              <a:buFont typeface="Wingdings" pitchFamily="2" charset="2"/>
              <a:buChar char="§"/>
            </a:pPr>
            <a:r>
              <a:rPr lang="en-US" sz="1000" dirty="0">
                <a:solidFill>
                  <a:schemeClr val="tx2"/>
                </a:solidFill>
                <a:latin typeface="Arial" pitchFamily="34" charset="0"/>
                <a:cs typeface="Arial" pitchFamily="34" charset="0"/>
              </a:rPr>
              <a:t>SSRS for Analytics</a:t>
            </a:r>
          </a:p>
          <a:p>
            <a:pPr marL="228600" indent="-228600" defTabSz="488950">
              <a:spcBef>
                <a:spcPct val="0"/>
              </a:spcBef>
              <a:spcAft>
                <a:spcPts val="200"/>
              </a:spcAft>
              <a:buClr>
                <a:schemeClr val="accent1"/>
              </a:buClr>
            </a:pPr>
            <a:r>
              <a:rPr lang="en-US" sz="1000" b="1" dirty="0">
                <a:solidFill>
                  <a:schemeClr val="tx2"/>
                </a:solidFill>
                <a:latin typeface="Arial" pitchFamily="34" charset="0"/>
                <a:cs typeface="Arial" pitchFamily="34" charset="0"/>
              </a:rPr>
              <a:t>Enhancements –</a:t>
            </a:r>
          </a:p>
          <a:p>
            <a:pPr marL="228600" indent="-228600" defTabSz="488950">
              <a:spcBef>
                <a:spcPct val="0"/>
              </a:spcBef>
              <a:spcAft>
                <a:spcPts val="200"/>
              </a:spcAft>
              <a:buClr>
                <a:schemeClr val="accent1"/>
              </a:buClr>
              <a:buFont typeface="Wingdings" pitchFamily="2" charset="2"/>
              <a:buChar char="§"/>
            </a:pPr>
            <a:r>
              <a:rPr lang="en-US" sz="1000" dirty="0" err="1">
                <a:solidFill>
                  <a:schemeClr val="tx2"/>
                </a:solidFill>
                <a:latin typeface="Arial" pitchFamily="34" charset="0"/>
                <a:cs typeface="Arial" pitchFamily="34" charset="0"/>
              </a:rPr>
              <a:t>Pentaho</a:t>
            </a:r>
            <a:r>
              <a:rPr lang="en-US" sz="1000" dirty="0">
                <a:solidFill>
                  <a:schemeClr val="tx2"/>
                </a:solidFill>
                <a:latin typeface="Arial" pitchFamily="34" charset="0"/>
                <a:cs typeface="Arial" pitchFamily="34" charset="0"/>
              </a:rPr>
              <a:t> to Web reporting  and SSRS Migration</a:t>
            </a:r>
          </a:p>
          <a:p>
            <a:pPr marL="228600" indent="-228600" defTabSz="488950">
              <a:spcBef>
                <a:spcPct val="0"/>
              </a:spcBef>
              <a:spcAft>
                <a:spcPts val="200"/>
              </a:spcAft>
              <a:buClr>
                <a:schemeClr val="accent1"/>
              </a:buClr>
              <a:buFont typeface="Wingdings" pitchFamily="2" charset="2"/>
              <a:buChar char="§"/>
            </a:pPr>
            <a:r>
              <a:rPr lang="en-US" sz="1000" dirty="0">
                <a:solidFill>
                  <a:schemeClr val="tx2"/>
                </a:solidFill>
                <a:latin typeface="Arial" pitchFamily="34" charset="0"/>
                <a:cs typeface="Arial" pitchFamily="34" charset="0"/>
              </a:rPr>
              <a:t>Revamped UI and look &amp; feel</a:t>
            </a:r>
          </a:p>
          <a:p>
            <a:pPr marL="228600" indent="-228600" defTabSz="488950">
              <a:spcBef>
                <a:spcPct val="0"/>
              </a:spcBef>
              <a:spcAft>
                <a:spcPts val="200"/>
              </a:spcAft>
              <a:buClr>
                <a:schemeClr val="accent1"/>
              </a:buClr>
              <a:buFont typeface="Wingdings" pitchFamily="2" charset="2"/>
              <a:buChar char="§"/>
            </a:pPr>
            <a:r>
              <a:rPr lang="en-US" sz="1000" dirty="0">
                <a:solidFill>
                  <a:schemeClr val="tx2"/>
                </a:solidFill>
                <a:latin typeface="Arial" pitchFamily="34" charset="0"/>
                <a:cs typeface="Arial" pitchFamily="34" charset="0"/>
              </a:rPr>
              <a:t>15-minute interval collection delivery</a:t>
            </a:r>
          </a:p>
        </p:txBody>
      </p:sp>
      <p:sp>
        <p:nvSpPr>
          <p:cNvPr id="380943" name="Freeform 15"/>
          <p:cNvSpPr>
            <a:spLocks/>
          </p:cNvSpPr>
          <p:nvPr/>
        </p:nvSpPr>
        <p:spPr bwMode="auto">
          <a:xfrm>
            <a:off x="552314" y="3882492"/>
            <a:ext cx="895486" cy="1418659"/>
          </a:xfrm>
          <a:custGeom>
            <a:avLst/>
            <a:gdLst/>
            <a:ahLst/>
            <a:cxnLst>
              <a:cxn ang="0">
                <a:pos x="392" y="621"/>
              </a:cxn>
              <a:cxn ang="0">
                <a:pos x="75" y="621"/>
              </a:cxn>
              <a:cxn ang="0">
                <a:pos x="75" y="621"/>
              </a:cxn>
              <a:cxn ang="0">
                <a:pos x="0" y="545"/>
              </a:cxn>
              <a:cxn ang="0">
                <a:pos x="0" y="545"/>
              </a:cxn>
              <a:cxn ang="0">
                <a:pos x="0" y="75"/>
              </a:cxn>
              <a:cxn ang="0">
                <a:pos x="75" y="0"/>
              </a:cxn>
              <a:cxn ang="0">
                <a:pos x="75" y="0"/>
              </a:cxn>
              <a:cxn ang="0">
                <a:pos x="75" y="0"/>
              </a:cxn>
              <a:cxn ang="0">
                <a:pos x="168" y="0"/>
              </a:cxn>
            </a:cxnLst>
            <a:rect l="0" t="0" r="r" b="b"/>
            <a:pathLst>
              <a:path w="392" h="621">
                <a:moveTo>
                  <a:pt x="392" y="621"/>
                </a:moveTo>
                <a:cubicBezTo>
                  <a:pt x="75" y="621"/>
                  <a:pt x="75" y="621"/>
                  <a:pt x="75" y="621"/>
                </a:cubicBezTo>
                <a:cubicBezTo>
                  <a:pt x="75" y="621"/>
                  <a:pt x="75" y="621"/>
                  <a:pt x="75" y="621"/>
                </a:cubicBezTo>
                <a:cubicBezTo>
                  <a:pt x="34" y="621"/>
                  <a:pt x="0" y="587"/>
                  <a:pt x="0" y="545"/>
                </a:cubicBezTo>
                <a:cubicBezTo>
                  <a:pt x="0" y="545"/>
                  <a:pt x="0" y="545"/>
                  <a:pt x="0" y="545"/>
                </a:cubicBezTo>
                <a:cubicBezTo>
                  <a:pt x="0" y="75"/>
                  <a:pt x="0" y="75"/>
                  <a:pt x="0" y="75"/>
                </a:cubicBezTo>
                <a:cubicBezTo>
                  <a:pt x="0" y="33"/>
                  <a:pt x="34" y="0"/>
                  <a:pt x="75" y="0"/>
                </a:cubicBezTo>
                <a:cubicBezTo>
                  <a:pt x="75" y="0"/>
                  <a:pt x="75" y="0"/>
                  <a:pt x="75" y="0"/>
                </a:cubicBezTo>
                <a:cubicBezTo>
                  <a:pt x="75" y="0"/>
                  <a:pt x="75" y="0"/>
                  <a:pt x="75" y="0"/>
                </a:cubicBezTo>
                <a:cubicBezTo>
                  <a:pt x="168" y="0"/>
                  <a:pt x="168" y="0"/>
                  <a:pt x="168" y="0"/>
                </a:cubicBezTo>
              </a:path>
            </a:pathLst>
          </a:custGeom>
          <a:noFill/>
          <a:ln w="12700" cap="flat">
            <a:solidFill>
              <a:srgbClr val="598F3F"/>
            </a:solidFill>
            <a:prstDash val="solid"/>
            <a:round/>
            <a:headEnd type="oval"/>
            <a:tailEnd type="oval"/>
          </a:ln>
        </p:spPr>
        <p:txBody>
          <a:bodyPr vert="horz" wrap="square" lIns="91440" tIns="45720" rIns="91440" bIns="45720" numCol="1" anchor="t" anchorCtr="0" compatLnSpc="1">
            <a:prstTxWarp prst="textNoShape">
              <a:avLst/>
            </a:prstTxWarp>
          </a:bodyPr>
          <a:lstStyle/>
          <a:p>
            <a:endParaRPr lang="en-US"/>
          </a:p>
        </p:txBody>
      </p:sp>
      <p:sp>
        <p:nvSpPr>
          <p:cNvPr id="72" name="Freeform 15"/>
          <p:cNvSpPr>
            <a:spLocks/>
          </p:cNvSpPr>
          <p:nvPr/>
        </p:nvSpPr>
        <p:spPr bwMode="auto">
          <a:xfrm>
            <a:off x="603884" y="4092733"/>
            <a:ext cx="472473" cy="1155555"/>
          </a:xfrm>
          <a:custGeom>
            <a:avLst/>
            <a:gdLst>
              <a:gd name="connsiteX0" fmla="*/ 10000 w 10000"/>
              <a:gd name="connsiteY0" fmla="*/ 10000 h 10000"/>
              <a:gd name="connsiteX1" fmla="*/ 1913 w 10000"/>
              <a:gd name="connsiteY1" fmla="*/ 10000 h 10000"/>
              <a:gd name="connsiteX2" fmla="*/ 1913 w 10000"/>
              <a:gd name="connsiteY2" fmla="*/ 10000 h 10000"/>
              <a:gd name="connsiteX3" fmla="*/ 0 w 10000"/>
              <a:gd name="connsiteY3" fmla="*/ 8776 h 10000"/>
              <a:gd name="connsiteX4" fmla="*/ 0 w 10000"/>
              <a:gd name="connsiteY4" fmla="*/ 8776 h 10000"/>
              <a:gd name="connsiteX5" fmla="*/ 0 w 10000"/>
              <a:gd name="connsiteY5" fmla="*/ 1208 h 10000"/>
              <a:gd name="connsiteX6" fmla="*/ 1913 w 10000"/>
              <a:gd name="connsiteY6" fmla="*/ 0 h 10000"/>
              <a:gd name="connsiteX7" fmla="*/ 1913 w 10000"/>
              <a:gd name="connsiteY7" fmla="*/ 0 h 10000"/>
              <a:gd name="connsiteX8" fmla="*/ 1913 w 10000"/>
              <a:gd name="connsiteY8" fmla="*/ 0 h 10000"/>
              <a:gd name="connsiteX9" fmla="*/ 2939 w 10000"/>
              <a:gd name="connsiteY9" fmla="*/ 0 h 10000"/>
              <a:gd name="connsiteX0" fmla="*/ 5695 w 5695"/>
              <a:gd name="connsiteY0" fmla="*/ 9997 h 10000"/>
              <a:gd name="connsiteX1" fmla="*/ 1913 w 5695"/>
              <a:gd name="connsiteY1" fmla="*/ 10000 h 10000"/>
              <a:gd name="connsiteX2" fmla="*/ 1913 w 5695"/>
              <a:gd name="connsiteY2" fmla="*/ 10000 h 10000"/>
              <a:gd name="connsiteX3" fmla="*/ 0 w 5695"/>
              <a:gd name="connsiteY3" fmla="*/ 8776 h 10000"/>
              <a:gd name="connsiteX4" fmla="*/ 0 w 5695"/>
              <a:gd name="connsiteY4" fmla="*/ 8776 h 10000"/>
              <a:gd name="connsiteX5" fmla="*/ 0 w 5695"/>
              <a:gd name="connsiteY5" fmla="*/ 1208 h 10000"/>
              <a:gd name="connsiteX6" fmla="*/ 1913 w 5695"/>
              <a:gd name="connsiteY6" fmla="*/ 0 h 10000"/>
              <a:gd name="connsiteX7" fmla="*/ 1913 w 5695"/>
              <a:gd name="connsiteY7" fmla="*/ 0 h 10000"/>
              <a:gd name="connsiteX8" fmla="*/ 1913 w 5695"/>
              <a:gd name="connsiteY8" fmla="*/ 0 h 10000"/>
              <a:gd name="connsiteX9" fmla="*/ 2939 w 5695"/>
              <a:gd name="connsiteY9" fmla="*/ 0 h 10000"/>
              <a:gd name="connsiteX0" fmla="*/ 10000 w 10000"/>
              <a:gd name="connsiteY0" fmla="*/ 9997 h 10000"/>
              <a:gd name="connsiteX1" fmla="*/ 3359 w 10000"/>
              <a:gd name="connsiteY1" fmla="*/ 10000 h 10000"/>
              <a:gd name="connsiteX2" fmla="*/ 3359 w 10000"/>
              <a:gd name="connsiteY2" fmla="*/ 10000 h 10000"/>
              <a:gd name="connsiteX3" fmla="*/ 0 w 10000"/>
              <a:gd name="connsiteY3" fmla="*/ 8776 h 10000"/>
              <a:gd name="connsiteX4" fmla="*/ 0 w 10000"/>
              <a:gd name="connsiteY4" fmla="*/ 8776 h 10000"/>
              <a:gd name="connsiteX5" fmla="*/ 0 w 10000"/>
              <a:gd name="connsiteY5" fmla="*/ 1208 h 10000"/>
              <a:gd name="connsiteX6" fmla="*/ 3359 w 10000"/>
              <a:gd name="connsiteY6" fmla="*/ 0 h 10000"/>
              <a:gd name="connsiteX7" fmla="*/ 3359 w 10000"/>
              <a:gd name="connsiteY7" fmla="*/ 0 h 10000"/>
              <a:gd name="connsiteX8" fmla="*/ 3359 w 10000"/>
              <a:gd name="connsiteY8" fmla="*/ 0 h 10000"/>
              <a:gd name="connsiteX0" fmla="*/ 10000 w 10000"/>
              <a:gd name="connsiteY0" fmla="*/ 9997 h 10000"/>
              <a:gd name="connsiteX1" fmla="*/ 3359 w 10000"/>
              <a:gd name="connsiteY1" fmla="*/ 10000 h 10000"/>
              <a:gd name="connsiteX2" fmla="*/ 3359 w 10000"/>
              <a:gd name="connsiteY2" fmla="*/ 10000 h 10000"/>
              <a:gd name="connsiteX3" fmla="*/ 0 w 10000"/>
              <a:gd name="connsiteY3" fmla="*/ 8776 h 10000"/>
              <a:gd name="connsiteX4" fmla="*/ 0 w 10000"/>
              <a:gd name="connsiteY4" fmla="*/ 8776 h 10000"/>
              <a:gd name="connsiteX5" fmla="*/ 0 w 10000"/>
              <a:gd name="connsiteY5" fmla="*/ 1208 h 10000"/>
              <a:gd name="connsiteX6" fmla="*/ 3359 w 10000"/>
              <a:gd name="connsiteY6" fmla="*/ 0 h 10000"/>
              <a:gd name="connsiteX7" fmla="*/ 3359 w 10000"/>
              <a:gd name="connsiteY7" fmla="*/ 0 h 10000"/>
              <a:gd name="connsiteX0" fmla="*/ 10000 w 10000"/>
              <a:gd name="connsiteY0" fmla="*/ 9997 h 10000"/>
              <a:gd name="connsiteX1" fmla="*/ 3359 w 10000"/>
              <a:gd name="connsiteY1" fmla="*/ 10000 h 10000"/>
              <a:gd name="connsiteX2" fmla="*/ 3359 w 10000"/>
              <a:gd name="connsiteY2" fmla="*/ 10000 h 10000"/>
              <a:gd name="connsiteX3" fmla="*/ 0 w 10000"/>
              <a:gd name="connsiteY3" fmla="*/ 8776 h 10000"/>
              <a:gd name="connsiteX4" fmla="*/ 0 w 10000"/>
              <a:gd name="connsiteY4" fmla="*/ 8776 h 10000"/>
              <a:gd name="connsiteX5" fmla="*/ 0 w 10000"/>
              <a:gd name="connsiteY5" fmla="*/ 1208 h 10000"/>
              <a:gd name="connsiteX6" fmla="*/ 3359 w 10000"/>
              <a:gd name="connsiteY6" fmla="*/ 0 h 10000"/>
              <a:gd name="connsiteX0" fmla="*/ 10000 w 10000"/>
              <a:gd name="connsiteY0" fmla="*/ 8789 h 8792"/>
              <a:gd name="connsiteX1" fmla="*/ 3359 w 10000"/>
              <a:gd name="connsiteY1" fmla="*/ 8792 h 8792"/>
              <a:gd name="connsiteX2" fmla="*/ 3359 w 10000"/>
              <a:gd name="connsiteY2" fmla="*/ 8792 h 8792"/>
              <a:gd name="connsiteX3" fmla="*/ 0 w 10000"/>
              <a:gd name="connsiteY3" fmla="*/ 7568 h 8792"/>
              <a:gd name="connsiteX4" fmla="*/ 0 w 10000"/>
              <a:gd name="connsiteY4" fmla="*/ 7568 h 8792"/>
              <a:gd name="connsiteX5" fmla="*/ 0 w 10000"/>
              <a:gd name="connsiteY5" fmla="*/ 0 h 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8792">
                <a:moveTo>
                  <a:pt x="10000" y="8789"/>
                </a:moveTo>
                <a:lnTo>
                  <a:pt x="3359" y="8792"/>
                </a:lnTo>
                <a:lnTo>
                  <a:pt x="3359" y="8792"/>
                </a:lnTo>
                <a:cubicBezTo>
                  <a:pt x="1522" y="8792"/>
                  <a:pt x="0" y="8244"/>
                  <a:pt x="0" y="7568"/>
                </a:cubicBezTo>
                <a:lnTo>
                  <a:pt x="0" y="7568"/>
                </a:lnTo>
                <a:lnTo>
                  <a:pt x="0" y="0"/>
                </a:lnTo>
              </a:path>
            </a:pathLst>
          </a:custGeom>
          <a:noFill/>
          <a:ln w="12700" cap="flat">
            <a:solidFill>
              <a:schemeClr val="bg1">
                <a:lumMod val="6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endParaRPr lang="en-US"/>
          </a:p>
        </p:txBody>
      </p:sp>
      <p:grpSp>
        <p:nvGrpSpPr>
          <p:cNvPr id="75" name="Group 74"/>
          <p:cNvGrpSpPr/>
          <p:nvPr/>
        </p:nvGrpSpPr>
        <p:grpSpPr>
          <a:xfrm>
            <a:off x="3834498" y="4691138"/>
            <a:ext cx="585102" cy="215444"/>
            <a:chOff x="1492622" y="5185231"/>
            <a:chExt cx="585102" cy="215444"/>
          </a:xfrm>
        </p:grpSpPr>
        <p:sp>
          <p:nvSpPr>
            <p:cNvPr id="76" name="Rectangle 75"/>
            <p:cNvSpPr/>
            <p:nvPr/>
          </p:nvSpPr>
          <p:spPr>
            <a:xfrm>
              <a:off x="1492622" y="5185231"/>
              <a:ext cx="444128" cy="215444"/>
            </a:xfrm>
            <a:prstGeom prst="rect">
              <a:avLst/>
            </a:prstGeom>
          </p:spPr>
          <p:txBody>
            <a:bodyPr wrap="square" lIns="0" tIns="0" rIns="0" bIns="0">
              <a:spAutoFit/>
            </a:bodyPr>
            <a:lstStyle/>
            <a:p>
              <a:pPr lvl="0" algn="r" defTabSz="488950">
                <a:spcBef>
                  <a:spcPct val="0"/>
                </a:spcBef>
                <a:spcAft>
                  <a:spcPts val="200"/>
                </a:spcAft>
              </a:pPr>
              <a:r>
                <a:rPr lang="en-US" sz="1400" b="1" dirty="0">
                  <a:solidFill>
                    <a:schemeClr val="accent1">
                      <a:lumMod val="75000"/>
                    </a:schemeClr>
                  </a:solidFill>
                  <a:latin typeface="Arial" pitchFamily="34" charset="0"/>
                  <a:cs typeface="Arial" pitchFamily="34" charset="0"/>
                </a:rPr>
                <a:t>2014</a:t>
              </a:r>
            </a:p>
          </p:txBody>
        </p:sp>
        <p:sp>
          <p:nvSpPr>
            <p:cNvPr id="77" name="Isosceles Triangle 76"/>
            <p:cNvSpPr/>
            <p:nvPr/>
          </p:nvSpPr>
          <p:spPr bwMode="auto">
            <a:xfrm rot="16200000">
              <a:off x="1961034" y="5246279"/>
              <a:ext cx="140032" cy="93349"/>
            </a:xfrm>
            <a:prstGeom prst="triangle">
              <a:avLst/>
            </a:prstGeom>
            <a:solidFill>
              <a:schemeClr val="bg2">
                <a:lumMod val="7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sp>
        <p:nvSpPr>
          <p:cNvPr id="78" name="Freeform 77"/>
          <p:cNvSpPr/>
          <p:nvPr/>
        </p:nvSpPr>
        <p:spPr bwMode="auto">
          <a:xfrm>
            <a:off x="2552700" y="2164462"/>
            <a:ext cx="1250950" cy="2634398"/>
          </a:xfrm>
          <a:custGeom>
            <a:avLst/>
            <a:gdLst>
              <a:gd name="connsiteX0" fmla="*/ 0 w 1800743"/>
              <a:gd name="connsiteY0" fmla="*/ 157259 h 2341410"/>
              <a:gd name="connsiteX1" fmla="*/ 46060 w 1800743"/>
              <a:gd name="connsiteY1" fmla="*/ 46060 h 2341410"/>
              <a:gd name="connsiteX2" fmla="*/ 157259 w 1800743"/>
              <a:gd name="connsiteY2" fmla="*/ 0 h 2341410"/>
              <a:gd name="connsiteX3" fmla="*/ 1643484 w 1800743"/>
              <a:gd name="connsiteY3" fmla="*/ 0 h 2341410"/>
              <a:gd name="connsiteX4" fmla="*/ 1754683 w 1800743"/>
              <a:gd name="connsiteY4" fmla="*/ 46060 h 2341410"/>
              <a:gd name="connsiteX5" fmla="*/ 1800743 w 1800743"/>
              <a:gd name="connsiteY5" fmla="*/ 157259 h 2341410"/>
              <a:gd name="connsiteX6" fmla="*/ 1800743 w 1800743"/>
              <a:gd name="connsiteY6" fmla="*/ 2184151 h 2341410"/>
              <a:gd name="connsiteX7" fmla="*/ 1754683 w 1800743"/>
              <a:gd name="connsiteY7" fmla="*/ 2295350 h 2341410"/>
              <a:gd name="connsiteX8" fmla="*/ 1643484 w 1800743"/>
              <a:gd name="connsiteY8" fmla="*/ 2341410 h 2341410"/>
              <a:gd name="connsiteX9" fmla="*/ 157259 w 1800743"/>
              <a:gd name="connsiteY9" fmla="*/ 2341410 h 2341410"/>
              <a:gd name="connsiteX10" fmla="*/ 46060 w 1800743"/>
              <a:gd name="connsiteY10" fmla="*/ 2295350 h 2341410"/>
              <a:gd name="connsiteX11" fmla="*/ 0 w 1800743"/>
              <a:gd name="connsiteY11" fmla="*/ 2184151 h 2341410"/>
              <a:gd name="connsiteX12" fmla="*/ 0 w 1800743"/>
              <a:gd name="connsiteY12" fmla="*/ 157259 h 2341410"/>
              <a:gd name="connsiteX0" fmla="*/ 0 w 1917398"/>
              <a:gd name="connsiteY0" fmla="*/ 157259 h 2548176"/>
              <a:gd name="connsiteX1" fmla="*/ 46060 w 1917398"/>
              <a:gd name="connsiteY1" fmla="*/ 46060 h 2548176"/>
              <a:gd name="connsiteX2" fmla="*/ 157259 w 1917398"/>
              <a:gd name="connsiteY2" fmla="*/ 0 h 2548176"/>
              <a:gd name="connsiteX3" fmla="*/ 1643484 w 1917398"/>
              <a:gd name="connsiteY3" fmla="*/ 0 h 2548176"/>
              <a:gd name="connsiteX4" fmla="*/ 1754683 w 1917398"/>
              <a:gd name="connsiteY4" fmla="*/ 46060 h 2548176"/>
              <a:gd name="connsiteX5" fmla="*/ 1800743 w 1917398"/>
              <a:gd name="connsiteY5" fmla="*/ 157259 h 2548176"/>
              <a:gd name="connsiteX6" fmla="*/ 1800743 w 1917398"/>
              <a:gd name="connsiteY6" fmla="*/ 2184151 h 2548176"/>
              <a:gd name="connsiteX7" fmla="*/ 1643484 w 1917398"/>
              <a:gd name="connsiteY7" fmla="*/ 2341410 h 2548176"/>
              <a:gd name="connsiteX8" fmla="*/ 157259 w 1917398"/>
              <a:gd name="connsiteY8" fmla="*/ 2341410 h 2548176"/>
              <a:gd name="connsiteX9" fmla="*/ 46060 w 1917398"/>
              <a:gd name="connsiteY9" fmla="*/ 2295350 h 2548176"/>
              <a:gd name="connsiteX10" fmla="*/ 0 w 1917398"/>
              <a:gd name="connsiteY10" fmla="*/ 2184151 h 2548176"/>
              <a:gd name="connsiteX11" fmla="*/ 0 w 1917398"/>
              <a:gd name="connsiteY11" fmla="*/ 157259 h 2548176"/>
              <a:gd name="connsiteX0" fmla="*/ 1800743 w 1917398"/>
              <a:gd name="connsiteY0" fmla="*/ 2184151 h 2548176"/>
              <a:gd name="connsiteX1" fmla="*/ 1643484 w 1917398"/>
              <a:gd name="connsiteY1" fmla="*/ 2341410 h 2548176"/>
              <a:gd name="connsiteX2" fmla="*/ 157259 w 1917398"/>
              <a:gd name="connsiteY2" fmla="*/ 2341410 h 2548176"/>
              <a:gd name="connsiteX3" fmla="*/ 46060 w 1917398"/>
              <a:gd name="connsiteY3" fmla="*/ 2295350 h 2548176"/>
              <a:gd name="connsiteX4" fmla="*/ 0 w 1917398"/>
              <a:gd name="connsiteY4" fmla="*/ 2184151 h 2548176"/>
              <a:gd name="connsiteX5" fmla="*/ 0 w 1917398"/>
              <a:gd name="connsiteY5" fmla="*/ 157259 h 2548176"/>
              <a:gd name="connsiteX6" fmla="*/ 46060 w 1917398"/>
              <a:gd name="connsiteY6" fmla="*/ 46060 h 2548176"/>
              <a:gd name="connsiteX7" fmla="*/ 157259 w 1917398"/>
              <a:gd name="connsiteY7" fmla="*/ 0 h 2548176"/>
              <a:gd name="connsiteX8" fmla="*/ 1643484 w 1917398"/>
              <a:gd name="connsiteY8" fmla="*/ 0 h 2548176"/>
              <a:gd name="connsiteX9" fmla="*/ 1754683 w 1917398"/>
              <a:gd name="connsiteY9" fmla="*/ 46060 h 2548176"/>
              <a:gd name="connsiteX10" fmla="*/ 1800743 w 1917398"/>
              <a:gd name="connsiteY10" fmla="*/ 157259 h 2548176"/>
              <a:gd name="connsiteX11" fmla="*/ 1892183 w 1917398"/>
              <a:gd name="connsiteY11" fmla="*/ 2275591 h 2548176"/>
              <a:gd name="connsiteX0" fmla="*/ 1643484 w 1892183"/>
              <a:gd name="connsiteY0" fmla="*/ 2341410 h 2341410"/>
              <a:gd name="connsiteX1" fmla="*/ 157259 w 1892183"/>
              <a:gd name="connsiteY1" fmla="*/ 2341410 h 2341410"/>
              <a:gd name="connsiteX2" fmla="*/ 46060 w 1892183"/>
              <a:gd name="connsiteY2" fmla="*/ 2295350 h 2341410"/>
              <a:gd name="connsiteX3" fmla="*/ 0 w 1892183"/>
              <a:gd name="connsiteY3" fmla="*/ 2184151 h 2341410"/>
              <a:gd name="connsiteX4" fmla="*/ 0 w 1892183"/>
              <a:gd name="connsiteY4" fmla="*/ 157259 h 2341410"/>
              <a:gd name="connsiteX5" fmla="*/ 46060 w 1892183"/>
              <a:gd name="connsiteY5" fmla="*/ 46060 h 2341410"/>
              <a:gd name="connsiteX6" fmla="*/ 157259 w 1892183"/>
              <a:gd name="connsiteY6" fmla="*/ 0 h 2341410"/>
              <a:gd name="connsiteX7" fmla="*/ 1643484 w 1892183"/>
              <a:gd name="connsiteY7" fmla="*/ 0 h 2341410"/>
              <a:gd name="connsiteX8" fmla="*/ 1754683 w 1892183"/>
              <a:gd name="connsiteY8" fmla="*/ 46060 h 2341410"/>
              <a:gd name="connsiteX9" fmla="*/ 1800743 w 1892183"/>
              <a:gd name="connsiteY9" fmla="*/ 157259 h 2341410"/>
              <a:gd name="connsiteX10" fmla="*/ 1892183 w 1892183"/>
              <a:gd name="connsiteY10" fmla="*/ 2275591 h 2341410"/>
              <a:gd name="connsiteX0" fmla="*/ 1111824 w 1892183"/>
              <a:gd name="connsiteY0" fmla="*/ 2341410 h 2341410"/>
              <a:gd name="connsiteX1" fmla="*/ 157259 w 1892183"/>
              <a:gd name="connsiteY1" fmla="*/ 2341410 h 2341410"/>
              <a:gd name="connsiteX2" fmla="*/ 46060 w 1892183"/>
              <a:gd name="connsiteY2" fmla="*/ 2295350 h 2341410"/>
              <a:gd name="connsiteX3" fmla="*/ 0 w 1892183"/>
              <a:gd name="connsiteY3" fmla="*/ 2184151 h 2341410"/>
              <a:gd name="connsiteX4" fmla="*/ 0 w 1892183"/>
              <a:gd name="connsiteY4" fmla="*/ 157259 h 2341410"/>
              <a:gd name="connsiteX5" fmla="*/ 46060 w 1892183"/>
              <a:gd name="connsiteY5" fmla="*/ 46060 h 2341410"/>
              <a:gd name="connsiteX6" fmla="*/ 157259 w 1892183"/>
              <a:gd name="connsiteY6" fmla="*/ 0 h 2341410"/>
              <a:gd name="connsiteX7" fmla="*/ 1643484 w 1892183"/>
              <a:gd name="connsiteY7" fmla="*/ 0 h 2341410"/>
              <a:gd name="connsiteX8" fmla="*/ 1754683 w 1892183"/>
              <a:gd name="connsiteY8" fmla="*/ 46060 h 2341410"/>
              <a:gd name="connsiteX9" fmla="*/ 1800743 w 1892183"/>
              <a:gd name="connsiteY9" fmla="*/ 157259 h 2341410"/>
              <a:gd name="connsiteX10" fmla="*/ 1892183 w 1892183"/>
              <a:gd name="connsiteY10" fmla="*/ 2275591 h 2341410"/>
              <a:gd name="connsiteX0" fmla="*/ 1111824 w 1800743"/>
              <a:gd name="connsiteY0" fmla="*/ 2341410 h 2341410"/>
              <a:gd name="connsiteX1" fmla="*/ 157259 w 1800743"/>
              <a:gd name="connsiteY1" fmla="*/ 2341410 h 2341410"/>
              <a:gd name="connsiteX2" fmla="*/ 46060 w 1800743"/>
              <a:gd name="connsiteY2" fmla="*/ 2295350 h 2341410"/>
              <a:gd name="connsiteX3" fmla="*/ 0 w 1800743"/>
              <a:gd name="connsiteY3" fmla="*/ 2184151 h 2341410"/>
              <a:gd name="connsiteX4" fmla="*/ 0 w 1800743"/>
              <a:gd name="connsiteY4" fmla="*/ 157259 h 2341410"/>
              <a:gd name="connsiteX5" fmla="*/ 46060 w 1800743"/>
              <a:gd name="connsiteY5" fmla="*/ 46060 h 2341410"/>
              <a:gd name="connsiteX6" fmla="*/ 157259 w 1800743"/>
              <a:gd name="connsiteY6" fmla="*/ 0 h 2341410"/>
              <a:gd name="connsiteX7" fmla="*/ 1643484 w 1800743"/>
              <a:gd name="connsiteY7" fmla="*/ 0 h 2341410"/>
              <a:gd name="connsiteX8" fmla="*/ 1754683 w 1800743"/>
              <a:gd name="connsiteY8" fmla="*/ 46060 h 2341410"/>
              <a:gd name="connsiteX9" fmla="*/ 1800743 w 1800743"/>
              <a:gd name="connsiteY9" fmla="*/ 157259 h 2341410"/>
              <a:gd name="connsiteX0" fmla="*/ 1111824 w 1754683"/>
              <a:gd name="connsiteY0" fmla="*/ 2341410 h 2341410"/>
              <a:gd name="connsiteX1" fmla="*/ 157259 w 1754683"/>
              <a:gd name="connsiteY1" fmla="*/ 2341410 h 2341410"/>
              <a:gd name="connsiteX2" fmla="*/ 46060 w 1754683"/>
              <a:gd name="connsiteY2" fmla="*/ 2295350 h 2341410"/>
              <a:gd name="connsiteX3" fmla="*/ 0 w 1754683"/>
              <a:gd name="connsiteY3" fmla="*/ 2184151 h 2341410"/>
              <a:gd name="connsiteX4" fmla="*/ 0 w 1754683"/>
              <a:gd name="connsiteY4" fmla="*/ 157259 h 2341410"/>
              <a:gd name="connsiteX5" fmla="*/ 46060 w 1754683"/>
              <a:gd name="connsiteY5" fmla="*/ 46060 h 2341410"/>
              <a:gd name="connsiteX6" fmla="*/ 157259 w 1754683"/>
              <a:gd name="connsiteY6" fmla="*/ 0 h 2341410"/>
              <a:gd name="connsiteX7" fmla="*/ 1643484 w 1754683"/>
              <a:gd name="connsiteY7" fmla="*/ 0 h 2341410"/>
              <a:gd name="connsiteX8" fmla="*/ 1754683 w 1754683"/>
              <a:gd name="connsiteY8" fmla="*/ 46060 h 2341410"/>
              <a:gd name="connsiteX0" fmla="*/ 1111824 w 1643484"/>
              <a:gd name="connsiteY0" fmla="*/ 2341410 h 2341410"/>
              <a:gd name="connsiteX1" fmla="*/ 157259 w 1643484"/>
              <a:gd name="connsiteY1" fmla="*/ 2341410 h 2341410"/>
              <a:gd name="connsiteX2" fmla="*/ 46060 w 1643484"/>
              <a:gd name="connsiteY2" fmla="*/ 2295350 h 2341410"/>
              <a:gd name="connsiteX3" fmla="*/ 0 w 1643484"/>
              <a:gd name="connsiteY3" fmla="*/ 2184151 h 2341410"/>
              <a:gd name="connsiteX4" fmla="*/ 0 w 1643484"/>
              <a:gd name="connsiteY4" fmla="*/ 157259 h 2341410"/>
              <a:gd name="connsiteX5" fmla="*/ 46060 w 1643484"/>
              <a:gd name="connsiteY5" fmla="*/ 46060 h 2341410"/>
              <a:gd name="connsiteX6" fmla="*/ 157259 w 1643484"/>
              <a:gd name="connsiteY6" fmla="*/ 0 h 2341410"/>
              <a:gd name="connsiteX7" fmla="*/ 1643484 w 1643484"/>
              <a:gd name="connsiteY7" fmla="*/ 0 h 2341410"/>
              <a:gd name="connsiteX0" fmla="*/ 1111824 w 1111824"/>
              <a:gd name="connsiteY0" fmla="*/ 2341410 h 2341410"/>
              <a:gd name="connsiteX1" fmla="*/ 157259 w 1111824"/>
              <a:gd name="connsiteY1" fmla="*/ 2341410 h 2341410"/>
              <a:gd name="connsiteX2" fmla="*/ 46060 w 1111824"/>
              <a:gd name="connsiteY2" fmla="*/ 2295350 h 2341410"/>
              <a:gd name="connsiteX3" fmla="*/ 0 w 1111824"/>
              <a:gd name="connsiteY3" fmla="*/ 2184151 h 2341410"/>
              <a:gd name="connsiteX4" fmla="*/ 0 w 1111824"/>
              <a:gd name="connsiteY4" fmla="*/ 157259 h 2341410"/>
              <a:gd name="connsiteX5" fmla="*/ 46060 w 1111824"/>
              <a:gd name="connsiteY5" fmla="*/ 46060 h 2341410"/>
              <a:gd name="connsiteX6" fmla="*/ 157259 w 1111824"/>
              <a:gd name="connsiteY6" fmla="*/ 0 h 2341410"/>
              <a:gd name="connsiteX7" fmla="*/ 299258 w 1111824"/>
              <a:gd name="connsiteY7" fmla="*/ 0 h 2341410"/>
              <a:gd name="connsiteX0" fmla="*/ 1111824 w 1111824"/>
              <a:gd name="connsiteY0" fmla="*/ 2341410 h 2341410"/>
              <a:gd name="connsiteX1" fmla="*/ 157259 w 1111824"/>
              <a:gd name="connsiteY1" fmla="*/ 2341410 h 2341410"/>
              <a:gd name="connsiteX2" fmla="*/ 46060 w 1111824"/>
              <a:gd name="connsiteY2" fmla="*/ 2295350 h 2341410"/>
              <a:gd name="connsiteX3" fmla="*/ 0 w 1111824"/>
              <a:gd name="connsiteY3" fmla="*/ 2184151 h 2341410"/>
              <a:gd name="connsiteX4" fmla="*/ 0 w 1111824"/>
              <a:gd name="connsiteY4" fmla="*/ 157259 h 2341410"/>
              <a:gd name="connsiteX5" fmla="*/ 46060 w 1111824"/>
              <a:gd name="connsiteY5" fmla="*/ 46060 h 2341410"/>
              <a:gd name="connsiteX6" fmla="*/ 157259 w 1111824"/>
              <a:gd name="connsiteY6" fmla="*/ 0 h 2341410"/>
              <a:gd name="connsiteX7" fmla="*/ 299838 w 1111824"/>
              <a:gd name="connsiteY7" fmla="*/ 0 h 234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1824" h="2341410">
                <a:moveTo>
                  <a:pt x="1111824" y="2341410"/>
                </a:moveTo>
                <a:lnTo>
                  <a:pt x="157259" y="2341410"/>
                </a:lnTo>
                <a:cubicBezTo>
                  <a:pt x="115551" y="2341410"/>
                  <a:pt x="75552" y="2324842"/>
                  <a:pt x="46060" y="2295350"/>
                </a:cubicBezTo>
                <a:cubicBezTo>
                  <a:pt x="16568" y="2265858"/>
                  <a:pt x="0" y="2225859"/>
                  <a:pt x="0" y="2184151"/>
                </a:cubicBezTo>
                <a:lnTo>
                  <a:pt x="0" y="157259"/>
                </a:lnTo>
                <a:cubicBezTo>
                  <a:pt x="0" y="115551"/>
                  <a:pt x="16568" y="75552"/>
                  <a:pt x="46060" y="46060"/>
                </a:cubicBezTo>
                <a:cubicBezTo>
                  <a:pt x="75552" y="16568"/>
                  <a:pt x="115551" y="0"/>
                  <a:pt x="157259" y="0"/>
                </a:cubicBezTo>
                <a:lnTo>
                  <a:pt x="299838" y="0"/>
                </a:lnTo>
              </a:path>
            </a:pathLst>
          </a:custGeom>
          <a:noFill/>
          <a:ln w="12700" cap="flat">
            <a:solidFill>
              <a:srgbClr val="598F3F"/>
            </a:solidFill>
            <a:prstDash val="solid"/>
            <a:round/>
            <a:headEnd type="oval"/>
            <a:tailEnd type="oval"/>
          </a:ln>
        </p:spPr>
        <p:txBody>
          <a:bodyPr vert="horz" wrap="square" lIns="91440" tIns="45720" rIns="91440" bIns="45720" numCol="1" anchor="t" anchorCtr="0" compatLnSpc="1">
            <a:prstTxWarp prst="textNoShape">
              <a:avLst/>
            </a:prstTxWarp>
          </a:bodyPr>
          <a:lstStyle/>
          <a:p>
            <a:pPr marR="0" indent="0" fontAlgn="base">
              <a:lnSpc>
                <a:spcPct val="85000"/>
              </a:lnSpc>
              <a:spcBef>
                <a:spcPct val="0"/>
              </a:spcBef>
              <a:spcAft>
                <a:spcPct val="0"/>
              </a:spcAft>
              <a:buClrTx/>
              <a:buSzTx/>
              <a:buFontTx/>
              <a:buNone/>
              <a:tabLst/>
            </a:pPr>
            <a:endParaRPr lang="en-US" dirty="0"/>
          </a:p>
        </p:txBody>
      </p:sp>
      <p:grpSp>
        <p:nvGrpSpPr>
          <p:cNvPr id="81" name="Group 80"/>
          <p:cNvGrpSpPr/>
          <p:nvPr/>
        </p:nvGrpSpPr>
        <p:grpSpPr>
          <a:xfrm>
            <a:off x="6799491" y="3647122"/>
            <a:ext cx="531211" cy="215444"/>
            <a:chOff x="1405539" y="5185231"/>
            <a:chExt cx="531211" cy="215444"/>
          </a:xfrm>
        </p:grpSpPr>
        <p:sp>
          <p:nvSpPr>
            <p:cNvPr id="82" name="Rectangle 81"/>
            <p:cNvSpPr/>
            <p:nvPr/>
          </p:nvSpPr>
          <p:spPr>
            <a:xfrm>
              <a:off x="1492622" y="5185231"/>
              <a:ext cx="444128" cy="215444"/>
            </a:xfrm>
            <a:prstGeom prst="rect">
              <a:avLst/>
            </a:prstGeom>
          </p:spPr>
          <p:txBody>
            <a:bodyPr wrap="square" lIns="0" tIns="0" rIns="0" bIns="0">
              <a:spAutoFit/>
            </a:bodyPr>
            <a:lstStyle/>
            <a:p>
              <a:pPr lvl="0" algn="r" defTabSz="488950">
                <a:spcBef>
                  <a:spcPct val="0"/>
                </a:spcBef>
                <a:spcAft>
                  <a:spcPts val="200"/>
                </a:spcAft>
              </a:pPr>
              <a:r>
                <a:rPr lang="en-US" sz="1400" b="1" dirty="0">
                  <a:solidFill>
                    <a:schemeClr val="accent1">
                      <a:lumMod val="75000"/>
                    </a:schemeClr>
                  </a:solidFill>
                  <a:latin typeface="Arial" pitchFamily="34" charset="0"/>
                  <a:cs typeface="Arial" pitchFamily="34" charset="0"/>
                </a:rPr>
                <a:t>2018</a:t>
              </a:r>
            </a:p>
          </p:txBody>
        </p:sp>
        <p:sp>
          <p:nvSpPr>
            <p:cNvPr id="83" name="Isosceles Triangle 82"/>
            <p:cNvSpPr/>
            <p:nvPr/>
          </p:nvSpPr>
          <p:spPr bwMode="auto">
            <a:xfrm rot="16200000">
              <a:off x="1382198" y="5246279"/>
              <a:ext cx="140032" cy="93349"/>
            </a:xfrm>
            <a:prstGeom prst="triangle">
              <a:avLst/>
            </a:prstGeom>
            <a:solidFill>
              <a:schemeClr val="bg2">
                <a:lumMod val="7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sp>
        <p:nvSpPr>
          <p:cNvPr id="84" name="Freeform 83"/>
          <p:cNvSpPr/>
          <p:nvPr/>
        </p:nvSpPr>
        <p:spPr bwMode="auto">
          <a:xfrm flipH="1">
            <a:off x="7419975" y="3749040"/>
            <a:ext cx="1454938" cy="436247"/>
          </a:xfrm>
          <a:custGeom>
            <a:avLst/>
            <a:gdLst>
              <a:gd name="connsiteX0" fmla="*/ 0 w 1800743"/>
              <a:gd name="connsiteY0" fmla="*/ 157259 h 2341410"/>
              <a:gd name="connsiteX1" fmla="*/ 46060 w 1800743"/>
              <a:gd name="connsiteY1" fmla="*/ 46060 h 2341410"/>
              <a:gd name="connsiteX2" fmla="*/ 157259 w 1800743"/>
              <a:gd name="connsiteY2" fmla="*/ 0 h 2341410"/>
              <a:gd name="connsiteX3" fmla="*/ 1643484 w 1800743"/>
              <a:gd name="connsiteY3" fmla="*/ 0 h 2341410"/>
              <a:gd name="connsiteX4" fmla="*/ 1754683 w 1800743"/>
              <a:gd name="connsiteY4" fmla="*/ 46060 h 2341410"/>
              <a:gd name="connsiteX5" fmla="*/ 1800743 w 1800743"/>
              <a:gd name="connsiteY5" fmla="*/ 157259 h 2341410"/>
              <a:gd name="connsiteX6" fmla="*/ 1800743 w 1800743"/>
              <a:gd name="connsiteY6" fmla="*/ 2184151 h 2341410"/>
              <a:gd name="connsiteX7" fmla="*/ 1754683 w 1800743"/>
              <a:gd name="connsiteY7" fmla="*/ 2295350 h 2341410"/>
              <a:gd name="connsiteX8" fmla="*/ 1643484 w 1800743"/>
              <a:gd name="connsiteY8" fmla="*/ 2341410 h 2341410"/>
              <a:gd name="connsiteX9" fmla="*/ 157259 w 1800743"/>
              <a:gd name="connsiteY9" fmla="*/ 2341410 h 2341410"/>
              <a:gd name="connsiteX10" fmla="*/ 46060 w 1800743"/>
              <a:gd name="connsiteY10" fmla="*/ 2295350 h 2341410"/>
              <a:gd name="connsiteX11" fmla="*/ 0 w 1800743"/>
              <a:gd name="connsiteY11" fmla="*/ 2184151 h 2341410"/>
              <a:gd name="connsiteX12" fmla="*/ 0 w 1800743"/>
              <a:gd name="connsiteY12" fmla="*/ 157259 h 2341410"/>
              <a:gd name="connsiteX0" fmla="*/ 0 w 1917398"/>
              <a:gd name="connsiteY0" fmla="*/ 157259 h 2548176"/>
              <a:gd name="connsiteX1" fmla="*/ 46060 w 1917398"/>
              <a:gd name="connsiteY1" fmla="*/ 46060 h 2548176"/>
              <a:gd name="connsiteX2" fmla="*/ 157259 w 1917398"/>
              <a:gd name="connsiteY2" fmla="*/ 0 h 2548176"/>
              <a:gd name="connsiteX3" fmla="*/ 1643484 w 1917398"/>
              <a:gd name="connsiteY3" fmla="*/ 0 h 2548176"/>
              <a:gd name="connsiteX4" fmla="*/ 1754683 w 1917398"/>
              <a:gd name="connsiteY4" fmla="*/ 46060 h 2548176"/>
              <a:gd name="connsiteX5" fmla="*/ 1800743 w 1917398"/>
              <a:gd name="connsiteY5" fmla="*/ 157259 h 2548176"/>
              <a:gd name="connsiteX6" fmla="*/ 1800743 w 1917398"/>
              <a:gd name="connsiteY6" fmla="*/ 2184151 h 2548176"/>
              <a:gd name="connsiteX7" fmla="*/ 1643484 w 1917398"/>
              <a:gd name="connsiteY7" fmla="*/ 2341410 h 2548176"/>
              <a:gd name="connsiteX8" fmla="*/ 157259 w 1917398"/>
              <a:gd name="connsiteY8" fmla="*/ 2341410 h 2548176"/>
              <a:gd name="connsiteX9" fmla="*/ 46060 w 1917398"/>
              <a:gd name="connsiteY9" fmla="*/ 2295350 h 2548176"/>
              <a:gd name="connsiteX10" fmla="*/ 0 w 1917398"/>
              <a:gd name="connsiteY10" fmla="*/ 2184151 h 2548176"/>
              <a:gd name="connsiteX11" fmla="*/ 0 w 1917398"/>
              <a:gd name="connsiteY11" fmla="*/ 157259 h 2548176"/>
              <a:gd name="connsiteX0" fmla="*/ 1800743 w 1917398"/>
              <a:gd name="connsiteY0" fmla="*/ 2184151 h 2548176"/>
              <a:gd name="connsiteX1" fmla="*/ 1643484 w 1917398"/>
              <a:gd name="connsiteY1" fmla="*/ 2341410 h 2548176"/>
              <a:gd name="connsiteX2" fmla="*/ 157259 w 1917398"/>
              <a:gd name="connsiteY2" fmla="*/ 2341410 h 2548176"/>
              <a:gd name="connsiteX3" fmla="*/ 46060 w 1917398"/>
              <a:gd name="connsiteY3" fmla="*/ 2295350 h 2548176"/>
              <a:gd name="connsiteX4" fmla="*/ 0 w 1917398"/>
              <a:gd name="connsiteY4" fmla="*/ 2184151 h 2548176"/>
              <a:gd name="connsiteX5" fmla="*/ 0 w 1917398"/>
              <a:gd name="connsiteY5" fmla="*/ 157259 h 2548176"/>
              <a:gd name="connsiteX6" fmla="*/ 46060 w 1917398"/>
              <a:gd name="connsiteY6" fmla="*/ 46060 h 2548176"/>
              <a:gd name="connsiteX7" fmla="*/ 157259 w 1917398"/>
              <a:gd name="connsiteY7" fmla="*/ 0 h 2548176"/>
              <a:gd name="connsiteX8" fmla="*/ 1643484 w 1917398"/>
              <a:gd name="connsiteY8" fmla="*/ 0 h 2548176"/>
              <a:gd name="connsiteX9" fmla="*/ 1754683 w 1917398"/>
              <a:gd name="connsiteY9" fmla="*/ 46060 h 2548176"/>
              <a:gd name="connsiteX10" fmla="*/ 1800743 w 1917398"/>
              <a:gd name="connsiteY10" fmla="*/ 157259 h 2548176"/>
              <a:gd name="connsiteX11" fmla="*/ 1892183 w 1917398"/>
              <a:gd name="connsiteY11" fmla="*/ 2275591 h 2548176"/>
              <a:gd name="connsiteX0" fmla="*/ 1643484 w 1892183"/>
              <a:gd name="connsiteY0" fmla="*/ 2341410 h 2341410"/>
              <a:gd name="connsiteX1" fmla="*/ 157259 w 1892183"/>
              <a:gd name="connsiteY1" fmla="*/ 2341410 h 2341410"/>
              <a:gd name="connsiteX2" fmla="*/ 46060 w 1892183"/>
              <a:gd name="connsiteY2" fmla="*/ 2295350 h 2341410"/>
              <a:gd name="connsiteX3" fmla="*/ 0 w 1892183"/>
              <a:gd name="connsiteY3" fmla="*/ 2184151 h 2341410"/>
              <a:gd name="connsiteX4" fmla="*/ 0 w 1892183"/>
              <a:gd name="connsiteY4" fmla="*/ 157259 h 2341410"/>
              <a:gd name="connsiteX5" fmla="*/ 46060 w 1892183"/>
              <a:gd name="connsiteY5" fmla="*/ 46060 h 2341410"/>
              <a:gd name="connsiteX6" fmla="*/ 157259 w 1892183"/>
              <a:gd name="connsiteY6" fmla="*/ 0 h 2341410"/>
              <a:gd name="connsiteX7" fmla="*/ 1643484 w 1892183"/>
              <a:gd name="connsiteY7" fmla="*/ 0 h 2341410"/>
              <a:gd name="connsiteX8" fmla="*/ 1754683 w 1892183"/>
              <a:gd name="connsiteY8" fmla="*/ 46060 h 2341410"/>
              <a:gd name="connsiteX9" fmla="*/ 1800743 w 1892183"/>
              <a:gd name="connsiteY9" fmla="*/ 157259 h 2341410"/>
              <a:gd name="connsiteX10" fmla="*/ 1892183 w 1892183"/>
              <a:gd name="connsiteY10" fmla="*/ 2275591 h 2341410"/>
              <a:gd name="connsiteX0" fmla="*/ 1111824 w 1892183"/>
              <a:gd name="connsiteY0" fmla="*/ 2341410 h 2341410"/>
              <a:gd name="connsiteX1" fmla="*/ 157259 w 1892183"/>
              <a:gd name="connsiteY1" fmla="*/ 2341410 h 2341410"/>
              <a:gd name="connsiteX2" fmla="*/ 46060 w 1892183"/>
              <a:gd name="connsiteY2" fmla="*/ 2295350 h 2341410"/>
              <a:gd name="connsiteX3" fmla="*/ 0 w 1892183"/>
              <a:gd name="connsiteY3" fmla="*/ 2184151 h 2341410"/>
              <a:gd name="connsiteX4" fmla="*/ 0 w 1892183"/>
              <a:gd name="connsiteY4" fmla="*/ 157259 h 2341410"/>
              <a:gd name="connsiteX5" fmla="*/ 46060 w 1892183"/>
              <a:gd name="connsiteY5" fmla="*/ 46060 h 2341410"/>
              <a:gd name="connsiteX6" fmla="*/ 157259 w 1892183"/>
              <a:gd name="connsiteY6" fmla="*/ 0 h 2341410"/>
              <a:gd name="connsiteX7" fmla="*/ 1643484 w 1892183"/>
              <a:gd name="connsiteY7" fmla="*/ 0 h 2341410"/>
              <a:gd name="connsiteX8" fmla="*/ 1754683 w 1892183"/>
              <a:gd name="connsiteY8" fmla="*/ 46060 h 2341410"/>
              <a:gd name="connsiteX9" fmla="*/ 1800743 w 1892183"/>
              <a:gd name="connsiteY9" fmla="*/ 157259 h 2341410"/>
              <a:gd name="connsiteX10" fmla="*/ 1892183 w 1892183"/>
              <a:gd name="connsiteY10" fmla="*/ 2275591 h 2341410"/>
              <a:gd name="connsiteX0" fmla="*/ 1111824 w 1800743"/>
              <a:gd name="connsiteY0" fmla="*/ 2341410 h 2341410"/>
              <a:gd name="connsiteX1" fmla="*/ 157259 w 1800743"/>
              <a:gd name="connsiteY1" fmla="*/ 2341410 h 2341410"/>
              <a:gd name="connsiteX2" fmla="*/ 46060 w 1800743"/>
              <a:gd name="connsiteY2" fmla="*/ 2295350 h 2341410"/>
              <a:gd name="connsiteX3" fmla="*/ 0 w 1800743"/>
              <a:gd name="connsiteY3" fmla="*/ 2184151 h 2341410"/>
              <a:gd name="connsiteX4" fmla="*/ 0 w 1800743"/>
              <a:gd name="connsiteY4" fmla="*/ 157259 h 2341410"/>
              <a:gd name="connsiteX5" fmla="*/ 46060 w 1800743"/>
              <a:gd name="connsiteY5" fmla="*/ 46060 h 2341410"/>
              <a:gd name="connsiteX6" fmla="*/ 157259 w 1800743"/>
              <a:gd name="connsiteY6" fmla="*/ 0 h 2341410"/>
              <a:gd name="connsiteX7" fmla="*/ 1643484 w 1800743"/>
              <a:gd name="connsiteY7" fmla="*/ 0 h 2341410"/>
              <a:gd name="connsiteX8" fmla="*/ 1754683 w 1800743"/>
              <a:gd name="connsiteY8" fmla="*/ 46060 h 2341410"/>
              <a:gd name="connsiteX9" fmla="*/ 1800743 w 1800743"/>
              <a:gd name="connsiteY9" fmla="*/ 157259 h 2341410"/>
              <a:gd name="connsiteX0" fmla="*/ 1111824 w 1754683"/>
              <a:gd name="connsiteY0" fmla="*/ 2341410 h 2341410"/>
              <a:gd name="connsiteX1" fmla="*/ 157259 w 1754683"/>
              <a:gd name="connsiteY1" fmla="*/ 2341410 h 2341410"/>
              <a:gd name="connsiteX2" fmla="*/ 46060 w 1754683"/>
              <a:gd name="connsiteY2" fmla="*/ 2295350 h 2341410"/>
              <a:gd name="connsiteX3" fmla="*/ 0 w 1754683"/>
              <a:gd name="connsiteY3" fmla="*/ 2184151 h 2341410"/>
              <a:gd name="connsiteX4" fmla="*/ 0 w 1754683"/>
              <a:gd name="connsiteY4" fmla="*/ 157259 h 2341410"/>
              <a:gd name="connsiteX5" fmla="*/ 46060 w 1754683"/>
              <a:gd name="connsiteY5" fmla="*/ 46060 h 2341410"/>
              <a:gd name="connsiteX6" fmla="*/ 157259 w 1754683"/>
              <a:gd name="connsiteY6" fmla="*/ 0 h 2341410"/>
              <a:gd name="connsiteX7" fmla="*/ 1643484 w 1754683"/>
              <a:gd name="connsiteY7" fmla="*/ 0 h 2341410"/>
              <a:gd name="connsiteX8" fmla="*/ 1754683 w 1754683"/>
              <a:gd name="connsiteY8" fmla="*/ 46060 h 2341410"/>
              <a:gd name="connsiteX0" fmla="*/ 1111824 w 1643484"/>
              <a:gd name="connsiteY0" fmla="*/ 2341410 h 2341410"/>
              <a:gd name="connsiteX1" fmla="*/ 157259 w 1643484"/>
              <a:gd name="connsiteY1" fmla="*/ 2341410 h 2341410"/>
              <a:gd name="connsiteX2" fmla="*/ 46060 w 1643484"/>
              <a:gd name="connsiteY2" fmla="*/ 2295350 h 2341410"/>
              <a:gd name="connsiteX3" fmla="*/ 0 w 1643484"/>
              <a:gd name="connsiteY3" fmla="*/ 2184151 h 2341410"/>
              <a:gd name="connsiteX4" fmla="*/ 0 w 1643484"/>
              <a:gd name="connsiteY4" fmla="*/ 157259 h 2341410"/>
              <a:gd name="connsiteX5" fmla="*/ 46060 w 1643484"/>
              <a:gd name="connsiteY5" fmla="*/ 46060 h 2341410"/>
              <a:gd name="connsiteX6" fmla="*/ 157259 w 1643484"/>
              <a:gd name="connsiteY6" fmla="*/ 0 h 2341410"/>
              <a:gd name="connsiteX7" fmla="*/ 1643484 w 1643484"/>
              <a:gd name="connsiteY7" fmla="*/ 0 h 2341410"/>
              <a:gd name="connsiteX0" fmla="*/ 1111824 w 1111824"/>
              <a:gd name="connsiteY0" fmla="*/ 2341410 h 2341410"/>
              <a:gd name="connsiteX1" fmla="*/ 157259 w 1111824"/>
              <a:gd name="connsiteY1" fmla="*/ 2341410 h 2341410"/>
              <a:gd name="connsiteX2" fmla="*/ 46060 w 1111824"/>
              <a:gd name="connsiteY2" fmla="*/ 2295350 h 2341410"/>
              <a:gd name="connsiteX3" fmla="*/ 0 w 1111824"/>
              <a:gd name="connsiteY3" fmla="*/ 2184151 h 2341410"/>
              <a:gd name="connsiteX4" fmla="*/ 0 w 1111824"/>
              <a:gd name="connsiteY4" fmla="*/ 157259 h 2341410"/>
              <a:gd name="connsiteX5" fmla="*/ 46060 w 1111824"/>
              <a:gd name="connsiteY5" fmla="*/ 46060 h 2341410"/>
              <a:gd name="connsiteX6" fmla="*/ 157259 w 1111824"/>
              <a:gd name="connsiteY6" fmla="*/ 0 h 2341410"/>
              <a:gd name="connsiteX7" fmla="*/ 299258 w 1111824"/>
              <a:gd name="connsiteY7" fmla="*/ 0 h 2341410"/>
              <a:gd name="connsiteX0" fmla="*/ 1111824 w 1111824"/>
              <a:gd name="connsiteY0" fmla="*/ 2341410 h 2341410"/>
              <a:gd name="connsiteX1" fmla="*/ 157259 w 1111824"/>
              <a:gd name="connsiteY1" fmla="*/ 2341410 h 2341410"/>
              <a:gd name="connsiteX2" fmla="*/ 46060 w 1111824"/>
              <a:gd name="connsiteY2" fmla="*/ 2295350 h 2341410"/>
              <a:gd name="connsiteX3" fmla="*/ 0 w 1111824"/>
              <a:gd name="connsiteY3" fmla="*/ 2184151 h 2341410"/>
              <a:gd name="connsiteX4" fmla="*/ 0 w 1111824"/>
              <a:gd name="connsiteY4" fmla="*/ 157259 h 2341410"/>
              <a:gd name="connsiteX5" fmla="*/ 46060 w 1111824"/>
              <a:gd name="connsiteY5" fmla="*/ 46060 h 2341410"/>
              <a:gd name="connsiteX6" fmla="*/ 157259 w 1111824"/>
              <a:gd name="connsiteY6" fmla="*/ 0 h 2341410"/>
              <a:gd name="connsiteX7" fmla="*/ 299838 w 1111824"/>
              <a:gd name="connsiteY7" fmla="*/ 0 h 2341410"/>
              <a:gd name="connsiteX0" fmla="*/ 1111824 w 7489394"/>
              <a:gd name="connsiteY0" fmla="*/ 2341410 h 2341410"/>
              <a:gd name="connsiteX1" fmla="*/ 157259 w 7489394"/>
              <a:gd name="connsiteY1" fmla="*/ 2341410 h 2341410"/>
              <a:gd name="connsiteX2" fmla="*/ 46060 w 7489394"/>
              <a:gd name="connsiteY2" fmla="*/ 2295350 h 2341410"/>
              <a:gd name="connsiteX3" fmla="*/ 0 w 7489394"/>
              <a:gd name="connsiteY3" fmla="*/ 2184151 h 2341410"/>
              <a:gd name="connsiteX4" fmla="*/ 0 w 7489394"/>
              <a:gd name="connsiteY4" fmla="*/ 157259 h 2341410"/>
              <a:gd name="connsiteX5" fmla="*/ 46060 w 7489394"/>
              <a:gd name="connsiteY5" fmla="*/ 46060 h 2341410"/>
              <a:gd name="connsiteX6" fmla="*/ 157259 w 7489394"/>
              <a:gd name="connsiteY6" fmla="*/ 0 h 2341410"/>
              <a:gd name="connsiteX7" fmla="*/ 7489394 w 7489394"/>
              <a:gd name="connsiteY7" fmla="*/ 0 h 2341410"/>
              <a:gd name="connsiteX0" fmla="*/ 1111824 w 7808868"/>
              <a:gd name="connsiteY0" fmla="*/ 2341410 h 2341410"/>
              <a:gd name="connsiteX1" fmla="*/ 157259 w 7808868"/>
              <a:gd name="connsiteY1" fmla="*/ 2341410 h 2341410"/>
              <a:gd name="connsiteX2" fmla="*/ 46060 w 7808868"/>
              <a:gd name="connsiteY2" fmla="*/ 2295350 h 2341410"/>
              <a:gd name="connsiteX3" fmla="*/ 0 w 7808868"/>
              <a:gd name="connsiteY3" fmla="*/ 2184151 h 2341410"/>
              <a:gd name="connsiteX4" fmla="*/ 0 w 7808868"/>
              <a:gd name="connsiteY4" fmla="*/ 157259 h 2341410"/>
              <a:gd name="connsiteX5" fmla="*/ 46060 w 7808868"/>
              <a:gd name="connsiteY5" fmla="*/ 46060 h 2341410"/>
              <a:gd name="connsiteX6" fmla="*/ 157259 w 7808868"/>
              <a:gd name="connsiteY6" fmla="*/ 0 h 2341410"/>
              <a:gd name="connsiteX7" fmla="*/ 7808868 w 7808868"/>
              <a:gd name="connsiteY7" fmla="*/ 0 h 234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08868" h="2341410">
                <a:moveTo>
                  <a:pt x="1111824" y="2341410"/>
                </a:moveTo>
                <a:lnTo>
                  <a:pt x="157259" y="2341410"/>
                </a:lnTo>
                <a:cubicBezTo>
                  <a:pt x="115551" y="2341410"/>
                  <a:pt x="75552" y="2324842"/>
                  <a:pt x="46060" y="2295350"/>
                </a:cubicBezTo>
                <a:cubicBezTo>
                  <a:pt x="16568" y="2265858"/>
                  <a:pt x="0" y="2225859"/>
                  <a:pt x="0" y="2184151"/>
                </a:cubicBezTo>
                <a:lnTo>
                  <a:pt x="0" y="157259"/>
                </a:lnTo>
                <a:cubicBezTo>
                  <a:pt x="0" y="115551"/>
                  <a:pt x="16568" y="75552"/>
                  <a:pt x="46060" y="46060"/>
                </a:cubicBezTo>
                <a:cubicBezTo>
                  <a:pt x="75552" y="16568"/>
                  <a:pt x="115551" y="0"/>
                  <a:pt x="157259" y="0"/>
                </a:cubicBezTo>
                <a:lnTo>
                  <a:pt x="7808868" y="0"/>
                </a:lnTo>
              </a:path>
            </a:pathLst>
          </a:custGeom>
          <a:noFill/>
          <a:ln w="12700" cap="flat">
            <a:solidFill>
              <a:srgbClr val="598F3F"/>
            </a:solidFill>
            <a:prstDash val="solid"/>
            <a:round/>
            <a:headEnd type="oval"/>
            <a:tailEnd type="oval"/>
          </a:ln>
        </p:spPr>
        <p:txBody>
          <a:bodyPr vert="horz" wrap="square" lIns="91440" tIns="45720" rIns="91440" bIns="45720" numCol="1" anchor="t" anchorCtr="0" compatLnSpc="1">
            <a:prstTxWarp prst="textNoShape">
              <a:avLst/>
            </a:prstTxWarp>
          </a:bodyPr>
          <a:lstStyle/>
          <a:p>
            <a:pPr marR="0" indent="0" fontAlgn="base">
              <a:lnSpc>
                <a:spcPct val="85000"/>
              </a:lnSpc>
              <a:spcBef>
                <a:spcPct val="0"/>
              </a:spcBef>
              <a:spcAft>
                <a:spcPct val="0"/>
              </a:spcAft>
              <a:buClrTx/>
              <a:buSzTx/>
              <a:buFontTx/>
              <a:buNone/>
              <a:tabLst/>
            </a:pPr>
            <a:endParaRPr lang="en-US" dirty="0"/>
          </a:p>
        </p:txBody>
      </p:sp>
      <p:sp>
        <p:nvSpPr>
          <p:cNvPr id="85" name="Freeform 15"/>
          <p:cNvSpPr>
            <a:spLocks/>
          </p:cNvSpPr>
          <p:nvPr/>
        </p:nvSpPr>
        <p:spPr bwMode="auto">
          <a:xfrm>
            <a:off x="2612572" y="3712028"/>
            <a:ext cx="472473" cy="1155555"/>
          </a:xfrm>
          <a:custGeom>
            <a:avLst/>
            <a:gdLst>
              <a:gd name="connsiteX0" fmla="*/ 10000 w 10000"/>
              <a:gd name="connsiteY0" fmla="*/ 10000 h 10000"/>
              <a:gd name="connsiteX1" fmla="*/ 1913 w 10000"/>
              <a:gd name="connsiteY1" fmla="*/ 10000 h 10000"/>
              <a:gd name="connsiteX2" fmla="*/ 1913 w 10000"/>
              <a:gd name="connsiteY2" fmla="*/ 10000 h 10000"/>
              <a:gd name="connsiteX3" fmla="*/ 0 w 10000"/>
              <a:gd name="connsiteY3" fmla="*/ 8776 h 10000"/>
              <a:gd name="connsiteX4" fmla="*/ 0 w 10000"/>
              <a:gd name="connsiteY4" fmla="*/ 8776 h 10000"/>
              <a:gd name="connsiteX5" fmla="*/ 0 w 10000"/>
              <a:gd name="connsiteY5" fmla="*/ 1208 h 10000"/>
              <a:gd name="connsiteX6" fmla="*/ 1913 w 10000"/>
              <a:gd name="connsiteY6" fmla="*/ 0 h 10000"/>
              <a:gd name="connsiteX7" fmla="*/ 1913 w 10000"/>
              <a:gd name="connsiteY7" fmla="*/ 0 h 10000"/>
              <a:gd name="connsiteX8" fmla="*/ 1913 w 10000"/>
              <a:gd name="connsiteY8" fmla="*/ 0 h 10000"/>
              <a:gd name="connsiteX9" fmla="*/ 2939 w 10000"/>
              <a:gd name="connsiteY9" fmla="*/ 0 h 10000"/>
              <a:gd name="connsiteX0" fmla="*/ 5695 w 5695"/>
              <a:gd name="connsiteY0" fmla="*/ 9997 h 10000"/>
              <a:gd name="connsiteX1" fmla="*/ 1913 w 5695"/>
              <a:gd name="connsiteY1" fmla="*/ 10000 h 10000"/>
              <a:gd name="connsiteX2" fmla="*/ 1913 w 5695"/>
              <a:gd name="connsiteY2" fmla="*/ 10000 h 10000"/>
              <a:gd name="connsiteX3" fmla="*/ 0 w 5695"/>
              <a:gd name="connsiteY3" fmla="*/ 8776 h 10000"/>
              <a:gd name="connsiteX4" fmla="*/ 0 w 5695"/>
              <a:gd name="connsiteY4" fmla="*/ 8776 h 10000"/>
              <a:gd name="connsiteX5" fmla="*/ 0 w 5695"/>
              <a:gd name="connsiteY5" fmla="*/ 1208 h 10000"/>
              <a:gd name="connsiteX6" fmla="*/ 1913 w 5695"/>
              <a:gd name="connsiteY6" fmla="*/ 0 h 10000"/>
              <a:gd name="connsiteX7" fmla="*/ 1913 w 5695"/>
              <a:gd name="connsiteY7" fmla="*/ 0 h 10000"/>
              <a:gd name="connsiteX8" fmla="*/ 1913 w 5695"/>
              <a:gd name="connsiteY8" fmla="*/ 0 h 10000"/>
              <a:gd name="connsiteX9" fmla="*/ 2939 w 5695"/>
              <a:gd name="connsiteY9" fmla="*/ 0 h 10000"/>
              <a:gd name="connsiteX0" fmla="*/ 10000 w 10000"/>
              <a:gd name="connsiteY0" fmla="*/ 9997 h 10000"/>
              <a:gd name="connsiteX1" fmla="*/ 3359 w 10000"/>
              <a:gd name="connsiteY1" fmla="*/ 10000 h 10000"/>
              <a:gd name="connsiteX2" fmla="*/ 3359 w 10000"/>
              <a:gd name="connsiteY2" fmla="*/ 10000 h 10000"/>
              <a:gd name="connsiteX3" fmla="*/ 0 w 10000"/>
              <a:gd name="connsiteY3" fmla="*/ 8776 h 10000"/>
              <a:gd name="connsiteX4" fmla="*/ 0 w 10000"/>
              <a:gd name="connsiteY4" fmla="*/ 8776 h 10000"/>
              <a:gd name="connsiteX5" fmla="*/ 0 w 10000"/>
              <a:gd name="connsiteY5" fmla="*/ 1208 h 10000"/>
              <a:gd name="connsiteX6" fmla="*/ 3359 w 10000"/>
              <a:gd name="connsiteY6" fmla="*/ 0 h 10000"/>
              <a:gd name="connsiteX7" fmla="*/ 3359 w 10000"/>
              <a:gd name="connsiteY7" fmla="*/ 0 h 10000"/>
              <a:gd name="connsiteX8" fmla="*/ 3359 w 10000"/>
              <a:gd name="connsiteY8" fmla="*/ 0 h 10000"/>
              <a:gd name="connsiteX0" fmla="*/ 10000 w 10000"/>
              <a:gd name="connsiteY0" fmla="*/ 9997 h 10000"/>
              <a:gd name="connsiteX1" fmla="*/ 3359 w 10000"/>
              <a:gd name="connsiteY1" fmla="*/ 10000 h 10000"/>
              <a:gd name="connsiteX2" fmla="*/ 3359 w 10000"/>
              <a:gd name="connsiteY2" fmla="*/ 10000 h 10000"/>
              <a:gd name="connsiteX3" fmla="*/ 0 w 10000"/>
              <a:gd name="connsiteY3" fmla="*/ 8776 h 10000"/>
              <a:gd name="connsiteX4" fmla="*/ 0 w 10000"/>
              <a:gd name="connsiteY4" fmla="*/ 8776 h 10000"/>
              <a:gd name="connsiteX5" fmla="*/ 0 w 10000"/>
              <a:gd name="connsiteY5" fmla="*/ 1208 h 10000"/>
              <a:gd name="connsiteX6" fmla="*/ 3359 w 10000"/>
              <a:gd name="connsiteY6" fmla="*/ 0 h 10000"/>
              <a:gd name="connsiteX7" fmla="*/ 3359 w 10000"/>
              <a:gd name="connsiteY7" fmla="*/ 0 h 10000"/>
              <a:gd name="connsiteX0" fmla="*/ 10000 w 10000"/>
              <a:gd name="connsiteY0" fmla="*/ 9997 h 10000"/>
              <a:gd name="connsiteX1" fmla="*/ 3359 w 10000"/>
              <a:gd name="connsiteY1" fmla="*/ 10000 h 10000"/>
              <a:gd name="connsiteX2" fmla="*/ 3359 w 10000"/>
              <a:gd name="connsiteY2" fmla="*/ 10000 h 10000"/>
              <a:gd name="connsiteX3" fmla="*/ 0 w 10000"/>
              <a:gd name="connsiteY3" fmla="*/ 8776 h 10000"/>
              <a:gd name="connsiteX4" fmla="*/ 0 w 10000"/>
              <a:gd name="connsiteY4" fmla="*/ 8776 h 10000"/>
              <a:gd name="connsiteX5" fmla="*/ 0 w 10000"/>
              <a:gd name="connsiteY5" fmla="*/ 1208 h 10000"/>
              <a:gd name="connsiteX6" fmla="*/ 3359 w 10000"/>
              <a:gd name="connsiteY6" fmla="*/ 0 h 10000"/>
              <a:gd name="connsiteX0" fmla="*/ 10000 w 10000"/>
              <a:gd name="connsiteY0" fmla="*/ 8789 h 8792"/>
              <a:gd name="connsiteX1" fmla="*/ 3359 w 10000"/>
              <a:gd name="connsiteY1" fmla="*/ 8792 h 8792"/>
              <a:gd name="connsiteX2" fmla="*/ 3359 w 10000"/>
              <a:gd name="connsiteY2" fmla="*/ 8792 h 8792"/>
              <a:gd name="connsiteX3" fmla="*/ 0 w 10000"/>
              <a:gd name="connsiteY3" fmla="*/ 7568 h 8792"/>
              <a:gd name="connsiteX4" fmla="*/ 0 w 10000"/>
              <a:gd name="connsiteY4" fmla="*/ 7568 h 8792"/>
              <a:gd name="connsiteX5" fmla="*/ 0 w 10000"/>
              <a:gd name="connsiteY5" fmla="*/ 0 h 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8792">
                <a:moveTo>
                  <a:pt x="10000" y="8789"/>
                </a:moveTo>
                <a:lnTo>
                  <a:pt x="3359" y="8792"/>
                </a:lnTo>
                <a:lnTo>
                  <a:pt x="3359" y="8792"/>
                </a:lnTo>
                <a:cubicBezTo>
                  <a:pt x="1522" y="8792"/>
                  <a:pt x="0" y="8244"/>
                  <a:pt x="0" y="7568"/>
                </a:cubicBezTo>
                <a:lnTo>
                  <a:pt x="0" y="7568"/>
                </a:lnTo>
                <a:lnTo>
                  <a:pt x="0" y="0"/>
                </a:lnTo>
              </a:path>
            </a:pathLst>
          </a:custGeom>
          <a:noFill/>
          <a:ln w="12700" cap="flat">
            <a:solidFill>
              <a:schemeClr val="bg1">
                <a:lumMod val="6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endParaRPr lang="en-US"/>
          </a:p>
        </p:txBody>
      </p:sp>
      <p:sp>
        <p:nvSpPr>
          <p:cNvPr id="86" name="Freeform 85"/>
          <p:cNvSpPr/>
          <p:nvPr/>
        </p:nvSpPr>
        <p:spPr bwMode="auto">
          <a:xfrm flipH="1">
            <a:off x="7546975" y="3695700"/>
            <a:ext cx="1454938" cy="436247"/>
          </a:xfrm>
          <a:custGeom>
            <a:avLst/>
            <a:gdLst>
              <a:gd name="connsiteX0" fmla="*/ 0 w 1800743"/>
              <a:gd name="connsiteY0" fmla="*/ 157259 h 2341410"/>
              <a:gd name="connsiteX1" fmla="*/ 46060 w 1800743"/>
              <a:gd name="connsiteY1" fmla="*/ 46060 h 2341410"/>
              <a:gd name="connsiteX2" fmla="*/ 157259 w 1800743"/>
              <a:gd name="connsiteY2" fmla="*/ 0 h 2341410"/>
              <a:gd name="connsiteX3" fmla="*/ 1643484 w 1800743"/>
              <a:gd name="connsiteY3" fmla="*/ 0 h 2341410"/>
              <a:gd name="connsiteX4" fmla="*/ 1754683 w 1800743"/>
              <a:gd name="connsiteY4" fmla="*/ 46060 h 2341410"/>
              <a:gd name="connsiteX5" fmla="*/ 1800743 w 1800743"/>
              <a:gd name="connsiteY5" fmla="*/ 157259 h 2341410"/>
              <a:gd name="connsiteX6" fmla="*/ 1800743 w 1800743"/>
              <a:gd name="connsiteY6" fmla="*/ 2184151 h 2341410"/>
              <a:gd name="connsiteX7" fmla="*/ 1754683 w 1800743"/>
              <a:gd name="connsiteY7" fmla="*/ 2295350 h 2341410"/>
              <a:gd name="connsiteX8" fmla="*/ 1643484 w 1800743"/>
              <a:gd name="connsiteY8" fmla="*/ 2341410 h 2341410"/>
              <a:gd name="connsiteX9" fmla="*/ 157259 w 1800743"/>
              <a:gd name="connsiteY9" fmla="*/ 2341410 h 2341410"/>
              <a:gd name="connsiteX10" fmla="*/ 46060 w 1800743"/>
              <a:gd name="connsiteY10" fmla="*/ 2295350 h 2341410"/>
              <a:gd name="connsiteX11" fmla="*/ 0 w 1800743"/>
              <a:gd name="connsiteY11" fmla="*/ 2184151 h 2341410"/>
              <a:gd name="connsiteX12" fmla="*/ 0 w 1800743"/>
              <a:gd name="connsiteY12" fmla="*/ 157259 h 2341410"/>
              <a:gd name="connsiteX0" fmla="*/ 0 w 1917398"/>
              <a:gd name="connsiteY0" fmla="*/ 157259 h 2548176"/>
              <a:gd name="connsiteX1" fmla="*/ 46060 w 1917398"/>
              <a:gd name="connsiteY1" fmla="*/ 46060 h 2548176"/>
              <a:gd name="connsiteX2" fmla="*/ 157259 w 1917398"/>
              <a:gd name="connsiteY2" fmla="*/ 0 h 2548176"/>
              <a:gd name="connsiteX3" fmla="*/ 1643484 w 1917398"/>
              <a:gd name="connsiteY3" fmla="*/ 0 h 2548176"/>
              <a:gd name="connsiteX4" fmla="*/ 1754683 w 1917398"/>
              <a:gd name="connsiteY4" fmla="*/ 46060 h 2548176"/>
              <a:gd name="connsiteX5" fmla="*/ 1800743 w 1917398"/>
              <a:gd name="connsiteY5" fmla="*/ 157259 h 2548176"/>
              <a:gd name="connsiteX6" fmla="*/ 1800743 w 1917398"/>
              <a:gd name="connsiteY6" fmla="*/ 2184151 h 2548176"/>
              <a:gd name="connsiteX7" fmla="*/ 1643484 w 1917398"/>
              <a:gd name="connsiteY7" fmla="*/ 2341410 h 2548176"/>
              <a:gd name="connsiteX8" fmla="*/ 157259 w 1917398"/>
              <a:gd name="connsiteY8" fmla="*/ 2341410 h 2548176"/>
              <a:gd name="connsiteX9" fmla="*/ 46060 w 1917398"/>
              <a:gd name="connsiteY9" fmla="*/ 2295350 h 2548176"/>
              <a:gd name="connsiteX10" fmla="*/ 0 w 1917398"/>
              <a:gd name="connsiteY10" fmla="*/ 2184151 h 2548176"/>
              <a:gd name="connsiteX11" fmla="*/ 0 w 1917398"/>
              <a:gd name="connsiteY11" fmla="*/ 157259 h 2548176"/>
              <a:gd name="connsiteX0" fmla="*/ 1800743 w 1917398"/>
              <a:gd name="connsiteY0" fmla="*/ 2184151 h 2548176"/>
              <a:gd name="connsiteX1" fmla="*/ 1643484 w 1917398"/>
              <a:gd name="connsiteY1" fmla="*/ 2341410 h 2548176"/>
              <a:gd name="connsiteX2" fmla="*/ 157259 w 1917398"/>
              <a:gd name="connsiteY2" fmla="*/ 2341410 h 2548176"/>
              <a:gd name="connsiteX3" fmla="*/ 46060 w 1917398"/>
              <a:gd name="connsiteY3" fmla="*/ 2295350 h 2548176"/>
              <a:gd name="connsiteX4" fmla="*/ 0 w 1917398"/>
              <a:gd name="connsiteY4" fmla="*/ 2184151 h 2548176"/>
              <a:gd name="connsiteX5" fmla="*/ 0 w 1917398"/>
              <a:gd name="connsiteY5" fmla="*/ 157259 h 2548176"/>
              <a:gd name="connsiteX6" fmla="*/ 46060 w 1917398"/>
              <a:gd name="connsiteY6" fmla="*/ 46060 h 2548176"/>
              <a:gd name="connsiteX7" fmla="*/ 157259 w 1917398"/>
              <a:gd name="connsiteY7" fmla="*/ 0 h 2548176"/>
              <a:gd name="connsiteX8" fmla="*/ 1643484 w 1917398"/>
              <a:gd name="connsiteY8" fmla="*/ 0 h 2548176"/>
              <a:gd name="connsiteX9" fmla="*/ 1754683 w 1917398"/>
              <a:gd name="connsiteY9" fmla="*/ 46060 h 2548176"/>
              <a:gd name="connsiteX10" fmla="*/ 1800743 w 1917398"/>
              <a:gd name="connsiteY10" fmla="*/ 157259 h 2548176"/>
              <a:gd name="connsiteX11" fmla="*/ 1892183 w 1917398"/>
              <a:gd name="connsiteY11" fmla="*/ 2275591 h 2548176"/>
              <a:gd name="connsiteX0" fmla="*/ 1643484 w 1892183"/>
              <a:gd name="connsiteY0" fmla="*/ 2341410 h 2341410"/>
              <a:gd name="connsiteX1" fmla="*/ 157259 w 1892183"/>
              <a:gd name="connsiteY1" fmla="*/ 2341410 h 2341410"/>
              <a:gd name="connsiteX2" fmla="*/ 46060 w 1892183"/>
              <a:gd name="connsiteY2" fmla="*/ 2295350 h 2341410"/>
              <a:gd name="connsiteX3" fmla="*/ 0 w 1892183"/>
              <a:gd name="connsiteY3" fmla="*/ 2184151 h 2341410"/>
              <a:gd name="connsiteX4" fmla="*/ 0 w 1892183"/>
              <a:gd name="connsiteY4" fmla="*/ 157259 h 2341410"/>
              <a:gd name="connsiteX5" fmla="*/ 46060 w 1892183"/>
              <a:gd name="connsiteY5" fmla="*/ 46060 h 2341410"/>
              <a:gd name="connsiteX6" fmla="*/ 157259 w 1892183"/>
              <a:gd name="connsiteY6" fmla="*/ 0 h 2341410"/>
              <a:gd name="connsiteX7" fmla="*/ 1643484 w 1892183"/>
              <a:gd name="connsiteY7" fmla="*/ 0 h 2341410"/>
              <a:gd name="connsiteX8" fmla="*/ 1754683 w 1892183"/>
              <a:gd name="connsiteY8" fmla="*/ 46060 h 2341410"/>
              <a:gd name="connsiteX9" fmla="*/ 1800743 w 1892183"/>
              <a:gd name="connsiteY9" fmla="*/ 157259 h 2341410"/>
              <a:gd name="connsiteX10" fmla="*/ 1892183 w 1892183"/>
              <a:gd name="connsiteY10" fmla="*/ 2275591 h 2341410"/>
              <a:gd name="connsiteX0" fmla="*/ 1111824 w 1892183"/>
              <a:gd name="connsiteY0" fmla="*/ 2341410 h 2341410"/>
              <a:gd name="connsiteX1" fmla="*/ 157259 w 1892183"/>
              <a:gd name="connsiteY1" fmla="*/ 2341410 h 2341410"/>
              <a:gd name="connsiteX2" fmla="*/ 46060 w 1892183"/>
              <a:gd name="connsiteY2" fmla="*/ 2295350 h 2341410"/>
              <a:gd name="connsiteX3" fmla="*/ 0 w 1892183"/>
              <a:gd name="connsiteY3" fmla="*/ 2184151 h 2341410"/>
              <a:gd name="connsiteX4" fmla="*/ 0 w 1892183"/>
              <a:gd name="connsiteY4" fmla="*/ 157259 h 2341410"/>
              <a:gd name="connsiteX5" fmla="*/ 46060 w 1892183"/>
              <a:gd name="connsiteY5" fmla="*/ 46060 h 2341410"/>
              <a:gd name="connsiteX6" fmla="*/ 157259 w 1892183"/>
              <a:gd name="connsiteY6" fmla="*/ 0 h 2341410"/>
              <a:gd name="connsiteX7" fmla="*/ 1643484 w 1892183"/>
              <a:gd name="connsiteY7" fmla="*/ 0 h 2341410"/>
              <a:gd name="connsiteX8" fmla="*/ 1754683 w 1892183"/>
              <a:gd name="connsiteY8" fmla="*/ 46060 h 2341410"/>
              <a:gd name="connsiteX9" fmla="*/ 1800743 w 1892183"/>
              <a:gd name="connsiteY9" fmla="*/ 157259 h 2341410"/>
              <a:gd name="connsiteX10" fmla="*/ 1892183 w 1892183"/>
              <a:gd name="connsiteY10" fmla="*/ 2275591 h 2341410"/>
              <a:gd name="connsiteX0" fmla="*/ 1111824 w 1800743"/>
              <a:gd name="connsiteY0" fmla="*/ 2341410 h 2341410"/>
              <a:gd name="connsiteX1" fmla="*/ 157259 w 1800743"/>
              <a:gd name="connsiteY1" fmla="*/ 2341410 h 2341410"/>
              <a:gd name="connsiteX2" fmla="*/ 46060 w 1800743"/>
              <a:gd name="connsiteY2" fmla="*/ 2295350 h 2341410"/>
              <a:gd name="connsiteX3" fmla="*/ 0 w 1800743"/>
              <a:gd name="connsiteY3" fmla="*/ 2184151 h 2341410"/>
              <a:gd name="connsiteX4" fmla="*/ 0 w 1800743"/>
              <a:gd name="connsiteY4" fmla="*/ 157259 h 2341410"/>
              <a:gd name="connsiteX5" fmla="*/ 46060 w 1800743"/>
              <a:gd name="connsiteY5" fmla="*/ 46060 h 2341410"/>
              <a:gd name="connsiteX6" fmla="*/ 157259 w 1800743"/>
              <a:gd name="connsiteY6" fmla="*/ 0 h 2341410"/>
              <a:gd name="connsiteX7" fmla="*/ 1643484 w 1800743"/>
              <a:gd name="connsiteY7" fmla="*/ 0 h 2341410"/>
              <a:gd name="connsiteX8" fmla="*/ 1754683 w 1800743"/>
              <a:gd name="connsiteY8" fmla="*/ 46060 h 2341410"/>
              <a:gd name="connsiteX9" fmla="*/ 1800743 w 1800743"/>
              <a:gd name="connsiteY9" fmla="*/ 157259 h 2341410"/>
              <a:gd name="connsiteX0" fmla="*/ 1111824 w 1754683"/>
              <a:gd name="connsiteY0" fmla="*/ 2341410 h 2341410"/>
              <a:gd name="connsiteX1" fmla="*/ 157259 w 1754683"/>
              <a:gd name="connsiteY1" fmla="*/ 2341410 h 2341410"/>
              <a:gd name="connsiteX2" fmla="*/ 46060 w 1754683"/>
              <a:gd name="connsiteY2" fmla="*/ 2295350 h 2341410"/>
              <a:gd name="connsiteX3" fmla="*/ 0 w 1754683"/>
              <a:gd name="connsiteY3" fmla="*/ 2184151 h 2341410"/>
              <a:gd name="connsiteX4" fmla="*/ 0 w 1754683"/>
              <a:gd name="connsiteY4" fmla="*/ 157259 h 2341410"/>
              <a:gd name="connsiteX5" fmla="*/ 46060 w 1754683"/>
              <a:gd name="connsiteY5" fmla="*/ 46060 h 2341410"/>
              <a:gd name="connsiteX6" fmla="*/ 157259 w 1754683"/>
              <a:gd name="connsiteY6" fmla="*/ 0 h 2341410"/>
              <a:gd name="connsiteX7" fmla="*/ 1643484 w 1754683"/>
              <a:gd name="connsiteY7" fmla="*/ 0 h 2341410"/>
              <a:gd name="connsiteX8" fmla="*/ 1754683 w 1754683"/>
              <a:gd name="connsiteY8" fmla="*/ 46060 h 2341410"/>
              <a:gd name="connsiteX0" fmla="*/ 1111824 w 1643484"/>
              <a:gd name="connsiteY0" fmla="*/ 2341410 h 2341410"/>
              <a:gd name="connsiteX1" fmla="*/ 157259 w 1643484"/>
              <a:gd name="connsiteY1" fmla="*/ 2341410 h 2341410"/>
              <a:gd name="connsiteX2" fmla="*/ 46060 w 1643484"/>
              <a:gd name="connsiteY2" fmla="*/ 2295350 h 2341410"/>
              <a:gd name="connsiteX3" fmla="*/ 0 w 1643484"/>
              <a:gd name="connsiteY3" fmla="*/ 2184151 h 2341410"/>
              <a:gd name="connsiteX4" fmla="*/ 0 w 1643484"/>
              <a:gd name="connsiteY4" fmla="*/ 157259 h 2341410"/>
              <a:gd name="connsiteX5" fmla="*/ 46060 w 1643484"/>
              <a:gd name="connsiteY5" fmla="*/ 46060 h 2341410"/>
              <a:gd name="connsiteX6" fmla="*/ 157259 w 1643484"/>
              <a:gd name="connsiteY6" fmla="*/ 0 h 2341410"/>
              <a:gd name="connsiteX7" fmla="*/ 1643484 w 1643484"/>
              <a:gd name="connsiteY7" fmla="*/ 0 h 2341410"/>
              <a:gd name="connsiteX0" fmla="*/ 1111824 w 1111824"/>
              <a:gd name="connsiteY0" fmla="*/ 2341410 h 2341410"/>
              <a:gd name="connsiteX1" fmla="*/ 157259 w 1111824"/>
              <a:gd name="connsiteY1" fmla="*/ 2341410 h 2341410"/>
              <a:gd name="connsiteX2" fmla="*/ 46060 w 1111824"/>
              <a:gd name="connsiteY2" fmla="*/ 2295350 h 2341410"/>
              <a:gd name="connsiteX3" fmla="*/ 0 w 1111824"/>
              <a:gd name="connsiteY3" fmla="*/ 2184151 h 2341410"/>
              <a:gd name="connsiteX4" fmla="*/ 0 w 1111824"/>
              <a:gd name="connsiteY4" fmla="*/ 157259 h 2341410"/>
              <a:gd name="connsiteX5" fmla="*/ 46060 w 1111824"/>
              <a:gd name="connsiteY5" fmla="*/ 46060 h 2341410"/>
              <a:gd name="connsiteX6" fmla="*/ 157259 w 1111824"/>
              <a:gd name="connsiteY6" fmla="*/ 0 h 2341410"/>
              <a:gd name="connsiteX7" fmla="*/ 299258 w 1111824"/>
              <a:gd name="connsiteY7" fmla="*/ 0 h 2341410"/>
              <a:gd name="connsiteX0" fmla="*/ 1111824 w 1111824"/>
              <a:gd name="connsiteY0" fmla="*/ 2341410 h 2341410"/>
              <a:gd name="connsiteX1" fmla="*/ 157259 w 1111824"/>
              <a:gd name="connsiteY1" fmla="*/ 2341410 h 2341410"/>
              <a:gd name="connsiteX2" fmla="*/ 46060 w 1111824"/>
              <a:gd name="connsiteY2" fmla="*/ 2295350 h 2341410"/>
              <a:gd name="connsiteX3" fmla="*/ 0 w 1111824"/>
              <a:gd name="connsiteY3" fmla="*/ 2184151 h 2341410"/>
              <a:gd name="connsiteX4" fmla="*/ 0 w 1111824"/>
              <a:gd name="connsiteY4" fmla="*/ 157259 h 2341410"/>
              <a:gd name="connsiteX5" fmla="*/ 46060 w 1111824"/>
              <a:gd name="connsiteY5" fmla="*/ 46060 h 2341410"/>
              <a:gd name="connsiteX6" fmla="*/ 157259 w 1111824"/>
              <a:gd name="connsiteY6" fmla="*/ 0 h 2341410"/>
              <a:gd name="connsiteX7" fmla="*/ 299838 w 1111824"/>
              <a:gd name="connsiteY7" fmla="*/ 0 h 2341410"/>
              <a:gd name="connsiteX0" fmla="*/ 1111824 w 7489394"/>
              <a:gd name="connsiteY0" fmla="*/ 2341410 h 2341410"/>
              <a:gd name="connsiteX1" fmla="*/ 157259 w 7489394"/>
              <a:gd name="connsiteY1" fmla="*/ 2341410 h 2341410"/>
              <a:gd name="connsiteX2" fmla="*/ 46060 w 7489394"/>
              <a:gd name="connsiteY2" fmla="*/ 2295350 h 2341410"/>
              <a:gd name="connsiteX3" fmla="*/ 0 w 7489394"/>
              <a:gd name="connsiteY3" fmla="*/ 2184151 h 2341410"/>
              <a:gd name="connsiteX4" fmla="*/ 0 w 7489394"/>
              <a:gd name="connsiteY4" fmla="*/ 157259 h 2341410"/>
              <a:gd name="connsiteX5" fmla="*/ 46060 w 7489394"/>
              <a:gd name="connsiteY5" fmla="*/ 46060 h 2341410"/>
              <a:gd name="connsiteX6" fmla="*/ 157259 w 7489394"/>
              <a:gd name="connsiteY6" fmla="*/ 0 h 2341410"/>
              <a:gd name="connsiteX7" fmla="*/ 7489394 w 7489394"/>
              <a:gd name="connsiteY7" fmla="*/ 0 h 2341410"/>
              <a:gd name="connsiteX0" fmla="*/ 1111824 w 7808868"/>
              <a:gd name="connsiteY0" fmla="*/ 2341410 h 2341410"/>
              <a:gd name="connsiteX1" fmla="*/ 157259 w 7808868"/>
              <a:gd name="connsiteY1" fmla="*/ 2341410 h 2341410"/>
              <a:gd name="connsiteX2" fmla="*/ 46060 w 7808868"/>
              <a:gd name="connsiteY2" fmla="*/ 2295350 h 2341410"/>
              <a:gd name="connsiteX3" fmla="*/ 0 w 7808868"/>
              <a:gd name="connsiteY3" fmla="*/ 2184151 h 2341410"/>
              <a:gd name="connsiteX4" fmla="*/ 0 w 7808868"/>
              <a:gd name="connsiteY4" fmla="*/ 157259 h 2341410"/>
              <a:gd name="connsiteX5" fmla="*/ 46060 w 7808868"/>
              <a:gd name="connsiteY5" fmla="*/ 46060 h 2341410"/>
              <a:gd name="connsiteX6" fmla="*/ 157259 w 7808868"/>
              <a:gd name="connsiteY6" fmla="*/ 0 h 2341410"/>
              <a:gd name="connsiteX7" fmla="*/ 7808868 w 7808868"/>
              <a:gd name="connsiteY7" fmla="*/ 0 h 234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08868" h="2341410">
                <a:moveTo>
                  <a:pt x="1111824" y="2341410"/>
                </a:moveTo>
                <a:lnTo>
                  <a:pt x="157259" y="2341410"/>
                </a:lnTo>
                <a:cubicBezTo>
                  <a:pt x="115551" y="2341410"/>
                  <a:pt x="75552" y="2324842"/>
                  <a:pt x="46060" y="2295350"/>
                </a:cubicBezTo>
                <a:cubicBezTo>
                  <a:pt x="16568" y="2265858"/>
                  <a:pt x="0" y="2225859"/>
                  <a:pt x="0" y="2184151"/>
                </a:cubicBezTo>
                <a:lnTo>
                  <a:pt x="0" y="157259"/>
                </a:lnTo>
                <a:cubicBezTo>
                  <a:pt x="0" y="115551"/>
                  <a:pt x="16568" y="75552"/>
                  <a:pt x="46060" y="46060"/>
                </a:cubicBezTo>
                <a:cubicBezTo>
                  <a:pt x="75552" y="16568"/>
                  <a:pt x="115551" y="0"/>
                  <a:pt x="157259" y="0"/>
                </a:cubicBezTo>
                <a:lnTo>
                  <a:pt x="7808868" y="0"/>
                </a:lnTo>
              </a:path>
            </a:pathLst>
          </a:custGeom>
          <a:noFill/>
          <a:ln w="12700" cap="flat">
            <a:solidFill>
              <a:schemeClr val="bg1">
                <a:lumMod val="6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marR="0" indent="0" fontAlgn="base">
              <a:lnSpc>
                <a:spcPct val="85000"/>
              </a:lnSpc>
              <a:spcBef>
                <a:spcPct val="0"/>
              </a:spcBef>
              <a:spcAft>
                <a:spcPct val="0"/>
              </a:spcAft>
              <a:buClrTx/>
              <a:buSzTx/>
              <a:buFontTx/>
              <a:buNone/>
              <a:tabLst/>
            </a:pPr>
            <a:endParaRPr lang="en-US" dirty="0"/>
          </a:p>
        </p:txBody>
      </p:sp>
      <p:grpSp>
        <p:nvGrpSpPr>
          <p:cNvPr id="55" name="Group 54">
            <a:extLst>
              <a:ext uri="{FF2B5EF4-FFF2-40B4-BE49-F238E27FC236}">
                <a16:creationId xmlns:a16="http://schemas.microsoft.com/office/drawing/2014/main" id="{EBDD2C01-8E75-4FB6-BBDF-42093AE6920B}"/>
              </a:ext>
            </a:extLst>
          </p:cNvPr>
          <p:cNvGrpSpPr/>
          <p:nvPr/>
        </p:nvGrpSpPr>
        <p:grpSpPr>
          <a:xfrm>
            <a:off x="6026509" y="1460437"/>
            <a:ext cx="992241" cy="855255"/>
            <a:chOff x="-2400413" y="1974866"/>
            <a:chExt cx="2598737" cy="2239963"/>
          </a:xfrm>
        </p:grpSpPr>
        <p:grpSp>
          <p:nvGrpSpPr>
            <p:cNvPr id="56" name="Group 1517">
              <a:extLst>
                <a:ext uri="{FF2B5EF4-FFF2-40B4-BE49-F238E27FC236}">
                  <a16:creationId xmlns:a16="http://schemas.microsoft.com/office/drawing/2014/main" id="{5CD24294-9422-4D4F-A833-0422D301A95C}"/>
                </a:ext>
              </a:extLst>
            </p:cNvPr>
            <p:cNvGrpSpPr/>
            <p:nvPr/>
          </p:nvGrpSpPr>
          <p:grpSpPr>
            <a:xfrm>
              <a:off x="-2400413" y="1974866"/>
              <a:ext cx="2598737" cy="2239963"/>
              <a:chOff x="-2400413" y="1974866"/>
              <a:chExt cx="2598737" cy="2239963"/>
            </a:xfrm>
          </p:grpSpPr>
          <p:sp>
            <p:nvSpPr>
              <p:cNvPr id="60" name="Freeform 21">
                <a:extLst>
                  <a:ext uri="{FF2B5EF4-FFF2-40B4-BE49-F238E27FC236}">
                    <a16:creationId xmlns:a16="http://schemas.microsoft.com/office/drawing/2014/main" id="{8AA448E6-5EE7-4FA1-A00E-77AEC111FF44}"/>
                  </a:ext>
                </a:extLst>
              </p:cNvPr>
              <p:cNvSpPr>
                <a:spLocks/>
              </p:cNvSpPr>
              <p:nvPr/>
            </p:nvSpPr>
            <p:spPr bwMode="auto">
              <a:xfrm>
                <a:off x="-2400413" y="2548358"/>
                <a:ext cx="2598737" cy="1643063"/>
              </a:xfrm>
              <a:custGeom>
                <a:avLst/>
                <a:gdLst/>
                <a:ahLst/>
                <a:cxnLst>
                  <a:cxn ang="0">
                    <a:pos x="691" y="184"/>
                  </a:cxn>
                  <a:cxn ang="0">
                    <a:pos x="491" y="369"/>
                  </a:cxn>
                  <a:cxn ang="0">
                    <a:pos x="491" y="369"/>
                  </a:cxn>
                  <a:cxn ang="0">
                    <a:pos x="491" y="369"/>
                  </a:cxn>
                  <a:cxn ang="0">
                    <a:pos x="268" y="438"/>
                  </a:cxn>
                  <a:cxn ang="0">
                    <a:pos x="126" y="342"/>
                  </a:cxn>
                  <a:cxn ang="0">
                    <a:pos x="126" y="342"/>
                  </a:cxn>
                  <a:cxn ang="0">
                    <a:pos x="305" y="49"/>
                  </a:cxn>
                  <a:cxn ang="0">
                    <a:pos x="305" y="49"/>
                  </a:cxn>
                  <a:cxn ang="0">
                    <a:pos x="305" y="49"/>
                  </a:cxn>
                  <a:cxn ang="0">
                    <a:pos x="691" y="184"/>
                  </a:cxn>
                  <a:cxn ang="0">
                    <a:pos x="691" y="184"/>
                  </a:cxn>
                </a:cxnLst>
                <a:rect l="0" t="0" r="r" b="b"/>
                <a:pathLst>
                  <a:path w="693" h="438">
                    <a:moveTo>
                      <a:pt x="691" y="184"/>
                    </a:moveTo>
                    <a:cubicBezTo>
                      <a:pt x="693" y="259"/>
                      <a:pt x="606" y="333"/>
                      <a:pt x="491" y="369"/>
                    </a:cubicBezTo>
                    <a:cubicBezTo>
                      <a:pt x="491" y="369"/>
                      <a:pt x="491" y="369"/>
                      <a:pt x="491" y="369"/>
                    </a:cubicBezTo>
                    <a:cubicBezTo>
                      <a:pt x="491" y="369"/>
                      <a:pt x="491" y="369"/>
                      <a:pt x="491" y="369"/>
                    </a:cubicBezTo>
                    <a:cubicBezTo>
                      <a:pt x="419" y="391"/>
                      <a:pt x="345" y="414"/>
                      <a:pt x="268" y="438"/>
                    </a:cubicBezTo>
                    <a:cubicBezTo>
                      <a:pt x="229" y="411"/>
                      <a:pt x="183" y="380"/>
                      <a:pt x="126" y="342"/>
                    </a:cubicBezTo>
                    <a:cubicBezTo>
                      <a:pt x="126" y="342"/>
                      <a:pt x="126" y="342"/>
                      <a:pt x="126" y="342"/>
                    </a:cubicBezTo>
                    <a:cubicBezTo>
                      <a:pt x="0" y="256"/>
                      <a:pt x="63" y="104"/>
                      <a:pt x="305" y="49"/>
                    </a:cubicBezTo>
                    <a:cubicBezTo>
                      <a:pt x="305" y="49"/>
                      <a:pt x="305" y="49"/>
                      <a:pt x="305" y="49"/>
                    </a:cubicBezTo>
                    <a:cubicBezTo>
                      <a:pt x="305" y="49"/>
                      <a:pt x="305" y="49"/>
                      <a:pt x="305" y="49"/>
                    </a:cubicBezTo>
                    <a:cubicBezTo>
                      <a:pt x="523" y="0"/>
                      <a:pt x="688" y="80"/>
                      <a:pt x="691" y="184"/>
                    </a:cubicBezTo>
                    <a:cubicBezTo>
                      <a:pt x="691" y="184"/>
                      <a:pt x="691" y="184"/>
                      <a:pt x="691" y="184"/>
                    </a:cubicBezTo>
                    <a:close/>
                  </a:path>
                </a:pathLst>
              </a:custGeom>
              <a:gradFill>
                <a:gsLst>
                  <a:gs pos="0">
                    <a:schemeClr val="tx1">
                      <a:lumMod val="65000"/>
                      <a:lumOff val="35000"/>
                      <a:alpha val="0"/>
                    </a:schemeClr>
                  </a:gs>
                  <a:gs pos="100000">
                    <a:schemeClr val="tx1">
                      <a:lumMod val="85000"/>
                      <a:lumOff val="15000"/>
                      <a:alpha val="52000"/>
                    </a:schemeClr>
                  </a:gs>
                </a:gsLst>
                <a:lin ang="5400000" scaled="0"/>
              </a:gradFill>
              <a:ln w="14288"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61" name="Group 1511">
                <a:extLst>
                  <a:ext uri="{FF2B5EF4-FFF2-40B4-BE49-F238E27FC236}">
                    <a16:creationId xmlns:a16="http://schemas.microsoft.com/office/drawing/2014/main" id="{0EC8E42B-63C6-4DAF-A0E2-43F6BAF0C6DD}"/>
                  </a:ext>
                </a:extLst>
              </p:cNvPr>
              <p:cNvGrpSpPr/>
              <p:nvPr/>
            </p:nvGrpSpPr>
            <p:grpSpPr>
              <a:xfrm>
                <a:off x="-2342357" y="1974866"/>
                <a:ext cx="1957388" cy="2239963"/>
                <a:chOff x="-1674813" y="1987550"/>
                <a:chExt cx="1957388" cy="2239963"/>
              </a:xfrm>
            </p:grpSpPr>
            <p:sp>
              <p:nvSpPr>
                <p:cNvPr id="62" name="Freeform 14">
                  <a:extLst>
                    <a:ext uri="{FF2B5EF4-FFF2-40B4-BE49-F238E27FC236}">
                      <a16:creationId xmlns:a16="http://schemas.microsoft.com/office/drawing/2014/main" id="{DF714E91-346D-45BD-98F2-14C79FCBADF4}"/>
                    </a:ext>
                  </a:extLst>
                </p:cNvPr>
                <p:cNvSpPr>
                  <a:spLocks/>
                </p:cNvSpPr>
                <p:nvPr/>
              </p:nvSpPr>
              <p:spPr bwMode="auto">
                <a:xfrm>
                  <a:off x="-1674813" y="1987550"/>
                  <a:ext cx="1957388" cy="2239963"/>
                </a:xfrm>
                <a:custGeom>
                  <a:avLst/>
                  <a:gdLst/>
                  <a:ahLst/>
                  <a:cxnLst>
                    <a:cxn ang="0">
                      <a:pos x="429" y="93"/>
                    </a:cxn>
                    <a:cxn ang="0">
                      <a:pos x="429" y="429"/>
                    </a:cxn>
                    <a:cxn ang="0">
                      <a:pos x="429" y="429"/>
                    </a:cxn>
                    <a:cxn ang="0">
                      <a:pos x="429" y="429"/>
                    </a:cxn>
                    <a:cxn ang="0">
                      <a:pos x="261" y="597"/>
                    </a:cxn>
                    <a:cxn ang="0">
                      <a:pos x="93" y="429"/>
                    </a:cxn>
                    <a:cxn ang="0">
                      <a:pos x="93" y="429"/>
                    </a:cxn>
                    <a:cxn ang="0">
                      <a:pos x="93" y="93"/>
                    </a:cxn>
                    <a:cxn ang="0">
                      <a:pos x="93" y="93"/>
                    </a:cxn>
                    <a:cxn ang="0">
                      <a:pos x="93" y="93"/>
                    </a:cxn>
                    <a:cxn ang="0">
                      <a:pos x="429" y="93"/>
                    </a:cxn>
                    <a:cxn ang="0">
                      <a:pos x="429" y="93"/>
                    </a:cxn>
                  </a:cxnLst>
                  <a:rect l="0" t="0" r="r" b="b"/>
                  <a:pathLst>
                    <a:path w="522" h="597">
                      <a:moveTo>
                        <a:pt x="429" y="93"/>
                      </a:moveTo>
                      <a:cubicBezTo>
                        <a:pt x="522" y="185"/>
                        <a:pt x="522" y="336"/>
                        <a:pt x="429" y="429"/>
                      </a:cubicBezTo>
                      <a:cubicBezTo>
                        <a:pt x="429" y="429"/>
                        <a:pt x="429" y="429"/>
                        <a:pt x="429" y="429"/>
                      </a:cubicBezTo>
                      <a:cubicBezTo>
                        <a:pt x="429" y="429"/>
                        <a:pt x="429" y="429"/>
                        <a:pt x="429" y="429"/>
                      </a:cubicBezTo>
                      <a:cubicBezTo>
                        <a:pt x="373" y="485"/>
                        <a:pt x="317" y="541"/>
                        <a:pt x="261" y="597"/>
                      </a:cubicBezTo>
                      <a:cubicBezTo>
                        <a:pt x="205" y="541"/>
                        <a:pt x="149" y="485"/>
                        <a:pt x="93" y="429"/>
                      </a:cubicBezTo>
                      <a:cubicBezTo>
                        <a:pt x="93" y="429"/>
                        <a:pt x="93" y="429"/>
                        <a:pt x="93" y="429"/>
                      </a:cubicBezTo>
                      <a:cubicBezTo>
                        <a:pt x="0" y="336"/>
                        <a:pt x="0" y="185"/>
                        <a:pt x="93" y="93"/>
                      </a:cubicBezTo>
                      <a:cubicBezTo>
                        <a:pt x="93" y="93"/>
                        <a:pt x="93" y="93"/>
                        <a:pt x="93" y="93"/>
                      </a:cubicBezTo>
                      <a:cubicBezTo>
                        <a:pt x="93" y="93"/>
                        <a:pt x="93" y="93"/>
                        <a:pt x="93" y="93"/>
                      </a:cubicBezTo>
                      <a:cubicBezTo>
                        <a:pt x="186" y="0"/>
                        <a:pt x="336" y="0"/>
                        <a:pt x="429" y="93"/>
                      </a:cubicBezTo>
                      <a:cubicBezTo>
                        <a:pt x="429" y="93"/>
                        <a:pt x="429" y="93"/>
                        <a:pt x="429" y="93"/>
                      </a:cubicBezTo>
                      <a:close/>
                    </a:path>
                  </a:pathLst>
                </a:custGeom>
                <a:gradFill>
                  <a:gsLst>
                    <a:gs pos="0">
                      <a:schemeClr val="accent4">
                        <a:lumMod val="60000"/>
                        <a:lumOff val="40000"/>
                      </a:schemeClr>
                    </a:gs>
                    <a:gs pos="100000">
                      <a:schemeClr val="accent4"/>
                    </a:gs>
                  </a:gsLst>
                  <a:lin ang="5400000" scaled="0"/>
                </a:gradFill>
                <a:ln w="15875"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16">
                  <a:extLst>
                    <a:ext uri="{FF2B5EF4-FFF2-40B4-BE49-F238E27FC236}">
                      <a16:creationId xmlns:a16="http://schemas.microsoft.com/office/drawing/2014/main" id="{6544B48D-DB6C-4178-86B8-A1F8895B1F90}"/>
                    </a:ext>
                  </a:extLst>
                </p:cNvPr>
                <p:cNvSpPr>
                  <a:spLocks/>
                </p:cNvSpPr>
                <p:nvPr/>
              </p:nvSpPr>
              <p:spPr bwMode="auto">
                <a:xfrm>
                  <a:off x="-1674813" y="2073275"/>
                  <a:ext cx="977900" cy="2154238"/>
                </a:xfrm>
                <a:custGeom>
                  <a:avLst/>
                  <a:gdLst/>
                  <a:ahLst/>
                  <a:cxnLst>
                    <a:cxn ang="0">
                      <a:pos x="261" y="0"/>
                    </a:cxn>
                    <a:cxn ang="0">
                      <a:pos x="93" y="70"/>
                    </a:cxn>
                    <a:cxn ang="0">
                      <a:pos x="93" y="406"/>
                    </a:cxn>
                    <a:cxn ang="0">
                      <a:pos x="261" y="574"/>
                    </a:cxn>
                    <a:cxn ang="0">
                      <a:pos x="261" y="0"/>
                    </a:cxn>
                  </a:cxnLst>
                  <a:rect l="0" t="0" r="r" b="b"/>
                  <a:pathLst>
                    <a:path w="261" h="574">
                      <a:moveTo>
                        <a:pt x="261" y="0"/>
                      </a:moveTo>
                      <a:cubicBezTo>
                        <a:pt x="200" y="0"/>
                        <a:pt x="139" y="23"/>
                        <a:pt x="93" y="70"/>
                      </a:cubicBezTo>
                      <a:cubicBezTo>
                        <a:pt x="0" y="162"/>
                        <a:pt x="0" y="313"/>
                        <a:pt x="93" y="406"/>
                      </a:cubicBezTo>
                      <a:cubicBezTo>
                        <a:pt x="149" y="462"/>
                        <a:pt x="205" y="518"/>
                        <a:pt x="261" y="574"/>
                      </a:cubicBezTo>
                      <a:lnTo>
                        <a:pt x="261" y="0"/>
                      </a:lnTo>
                      <a:close/>
                    </a:path>
                  </a:pathLst>
                </a:custGeom>
                <a:solidFill>
                  <a:schemeClr val="accent4">
                    <a:lumMod val="20000"/>
                    <a:lumOff val="80000"/>
                    <a:alpha val="28000"/>
                  </a:schemeClr>
                </a:solidFill>
                <a:ln w="15875"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58" name="Freeform 15">
              <a:extLst>
                <a:ext uri="{FF2B5EF4-FFF2-40B4-BE49-F238E27FC236}">
                  <a16:creationId xmlns:a16="http://schemas.microsoft.com/office/drawing/2014/main" id="{D58A7C36-55E7-4617-A42A-1F5F545024D5}"/>
                </a:ext>
              </a:extLst>
            </p:cNvPr>
            <p:cNvSpPr>
              <a:spLocks/>
            </p:cNvSpPr>
            <p:nvPr/>
          </p:nvSpPr>
          <p:spPr bwMode="auto">
            <a:xfrm>
              <a:off x="-2031207" y="2101456"/>
              <a:ext cx="1335088" cy="1066288"/>
            </a:xfrm>
            <a:custGeom>
              <a:avLst/>
              <a:gdLst/>
              <a:ahLst/>
              <a:cxnLst>
                <a:cxn ang="0">
                  <a:pos x="0" y="178"/>
                </a:cxn>
                <a:cxn ang="0">
                  <a:pos x="178" y="0"/>
                </a:cxn>
                <a:cxn ang="0">
                  <a:pos x="178" y="0"/>
                </a:cxn>
                <a:cxn ang="0">
                  <a:pos x="178" y="0"/>
                </a:cxn>
                <a:cxn ang="0">
                  <a:pos x="356" y="178"/>
                </a:cxn>
                <a:cxn ang="0">
                  <a:pos x="356" y="178"/>
                </a:cxn>
                <a:cxn ang="0">
                  <a:pos x="356" y="178"/>
                </a:cxn>
                <a:cxn ang="0">
                  <a:pos x="178" y="357"/>
                </a:cxn>
                <a:cxn ang="0">
                  <a:pos x="178" y="357"/>
                </a:cxn>
                <a:cxn ang="0">
                  <a:pos x="178" y="357"/>
                </a:cxn>
                <a:cxn ang="0">
                  <a:pos x="0" y="178"/>
                </a:cxn>
                <a:cxn ang="0">
                  <a:pos x="0" y="178"/>
                </a:cxn>
              </a:cxnLst>
              <a:rect l="0" t="0" r="r" b="b"/>
              <a:pathLst>
                <a:path w="356" h="357">
                  <a:moveTo>
                    <a:pt x="0" y="178"/>
                  </a:moveTo>
                  <a:cubicBezTo>
                    <a:pt x="0" y="80"/>
                    <a:pt x="79" y="0"/>
                    <a:pt x="178" y="0"/>
                  </a:cubicBezTo>
                  <a:cubicBezTo>
                    <a:pt x="178" y="0"/>
                    <a:pt x="178" y="0"/>
                    <a:pt x="178" y="0"/>
                  </a:cubicBezTo>
                  <a:cubicBezTo>
                    <a:pt x="178" y="0"/>
                    <a:pt x="178" y="0"/>
                    <a:pt x="178" y="0"/>
                  </a:cubicBezTo>
                  <a:cubicBezTo>
                    <a:pt x="276" y="0"/>
                    <a:pt x="356" y="80"/>
                    <a:pt x="356" y="178"/>
                  </a:cubicBezTo>
                  <a:cubicBezTo>
                    <a:pt x="356" y="178"/>
                    <a:pt x="356" y="178"/>
                    <a:pt x="356" y="178"/>
                  </a:cubicBezTo>
                  <a:cubicBezTo>
                    <a:pt x="356" y="178"/>
                    <a:pt x="356" y="178"/>
                    <a:pt x="356" y="178"/>
                  </a:cubicBezTo>
                  <a:cubicBezTo>
                    <a:pt x="356" y="277"/>
                    <a:pt x="276" y="357"/>
                    <a:pt x="178" y="357"/>
                  </a:cubicBezTo>
                  <a:cubicBezTo>
                    <a:pt x="178" y="357"/>
                    <a:pt x="178" y="357"/>
                    <a:pt x="178" y="357"/>
                  </a:cubicBezTo>
                  <a:cubicBezTo>
                    <a:pt x="178" y="357"/>
                    <a:pt x="178" y="357"/>
                    <a:pt x="178" y="357"/>
                  </a:cubicBezTo>
                  <a:cubicBezTo>
                    <a:pt x="79" y="357"/>
                    <a:pt x="0" y="277"/>
                    <a:pt x="0" y="178"/>
                  </a:cubicBezTo>
                  <a:cubicBezTo>
                    <a:pt x="0" y="178"/>
                    <a:pt x="0" y="178"/>
                    <a:pt x="0" y="178"/>
                  </a:cubicBezTo>
                  <a:close/>
                </a:path>
              </a:pathLst>
            </a:custGeom>
            <a:solidFill>
              <a:schemeClr val="bg1">
                <a:alpha val="25000"/>
              </a:schemeClr>
            </a:solidFill>
            <a:ln w="25400"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15">
              <a:extLst>
                <a:ext uri="{FF2B5EF4-FFF2-40B4-BE49-F238E27FC236}">
                  <a16:creationId xmlns:a16="http://schemas.microsoft.com/office/drawing/2014/main" id="{B58C287C-21E7-46A1-9CE3-22E7ABD72002}"/>
                </a:ext>
              </a:extLst>
            </p:cNvPr>
            <p:cNvSpPr>
              <a:spLocks/>
            </p:cNvSpPr>
            <p:nvPr/>
          </p:nvSpPr>
          <p:spPr bwMode="auto">
            <a:xfrm>
              <a:off x="-2020094" y="2306638"/>
              <a:ext cx="1335088" cy="1339850"/>
            </a:xfrm>
            <a:custGeom>
              <a:avLst/>
              <a:gdLst/>
              <a:ahLst/>
              <a:cxnLst>
                <a:cxn ang="0">
                  <a:pos x="0" y="178"/>
                </a:cxn>
                <a:cxn ang="0">
                  <a:pos x="178" y="0"/>
                </a:cxn>
                <a:cxn ang="0">
                  <a:pos x="178" y="0"/>
                </a:cxn>
                <a:cxn ang="0">
                  <a:pos x="178" y="0"/>
                </a:cxn>
                <a:cxn ang="0">
                  <a:pos x="356" y="178"/>
                </a:cxn>
                <a:cxn ang="0">
                  <a:pos x="356" y="178"/>
                </a:cxn>
                <a:cxn ang="0">
                  <a:pos x="356" y="178"/>
                </a:cxn>
                <a:cxn ang="0">
                  <a:pos x="178" y="357"/>
                </a:cxn>
                <a:cxn ang="0">
                  <a:pos x="178" y="357"/>
                </a:cxn>
                <a:cxn ang="0">
                  <a:pos x="178" y="357"/>
                </a:cxn>
                <a:cxn ang="0">
                  <a:pos x="0" y="178"/>
                </a:cxn>
                <a:cxn ang="0">
                  <a:pos x="0" y="178"/>
                </a:cxn>
              </a:cxnLst>
              <a:rect l="0" t="0" r="r" b="b"/>
              <a:pathLst>
                <a:path w="356" h="357">
                  <a:moveTo>
                    <a:pt x="0" y="178"/>
                  </a:moveTo>
                  <a:cubicBezTo>
                    <a:pt x="0" y="80"/>
                    <a:pt x="79" y="0"/>
                    <a:pt x="178" y="0"/>
                  </a:cubicBezTo>
                  <a:cubicBezTo>
                    <a:pt x="178" y="0"/>
                    <a:pt x="178" y="0"/>
                    <a:pt x="178" y="0"/>
                  </a:cubicBezTo>
                  <a:cubicBezTo>
                    <a:pt x="178" y="0"/>
                    <a:pt x="178" y="0"/>
                    <a:pt x="178" y="0"/>
                  </a:cubicBezTo>
                  <a:cubicBezTo>
                    <a:pt x="276" y="0"/>
                    <a:pt x="356" y="80"/>
                    <a:pt x="356" y="178"/>
                  </a:cubicBezTo>
                  <a:cubicBezTo>
                    <a:pt x="356" y="178"/>
                    <a:pt x="356" y="178"/>
                    <a:pt x="356" y="178"/>
                  </a:cubicBezTo>
                  <a:cubicBezTo>
                    <a:pt x="356" y="178"/>
                    <a:pt x="356" y="178"/>
                    <a:pt x="356" y="178"/>
                  </a:cubicBezTo>
                  <a:cubicBezTo>
                    <a:pt x="356" y="277"/>
                    <a:pt x="276" y="357"/>
                    <a:pt x="178" y="357"/>
                  </a:cubicBezTo>
                  <a:cubicBezTo>
                    <a:pt x="178" y="357"/>
                    <a:pt x="178" y="357"/>
                    <a:pt x="178" y="357"/>
                  </a:cubicBezTo>
                  <a:cubicBezTo>
                    <a:pt x="178" y="357"/>
                    <a:pt x="178" y="357"/>
                    <a:pt x="178" y="357"/>
                  </a:cubicBezTo>
                  <a:cubicBezTo>
                    <a:pt x="79" y="357"/>
                    <a:pt x="0" y="277"/>
                    <a:pt x="0" y="178"/>
                  </a:cubicBezTo>
                  <a:cubicBezTo>
                    <a:pt x="0" y="178"/>
                    <a:pt x="0" y="178"/>
                    <a:pt x="0" y="178"/>
                  </a:cubicBezTo>
                  <a:close/>
                </a:path>
              </a:pathLst>
            </a:custGeom>
            <a:gradFill>
              <a:gsLst>
                <a:gs pos="0">
                  <a:schemeClr val="bg1"/>
                </a:gs>
                <a:gs pos="100000">
                  <a:schemeClr val="bg1">
                    <a:lumMod val="85000"/>
                  </a:schemeClr>
                </a:gs>
              </a:gsLst>
              <a:lin ang="5400000" scaled="0"/>
            </a:gradFill>
            <a:ln w="34925" cap="flat">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3" name="Group 92">
            <a:extLst>
              <a:ext uri="{FF2B5EF4-FFF2-40B4-BE49-F238E27FC236}">
                <a16:creationId xmlns:a16="http://schemas.microsoft.com/office/drawing/2014/main" id="{93939B25-2222-412D-BBC1-1D97FEB3CF37}"/>
              </a:ext>
            </a:extLst>
          </p:cNvPr>
          <p:cNvGrpSpPr/>
          <p:nvPr/>
        </p:nvGrpSpPr>
        <p:grpSpPr>
          <a:xfrm>
            <a:off x="6872207" y="1227887"/>
            <a:ext cx="531211" cy="215444"/>
            <a:chOff x="1405539" y="5185231"/>
            <a:chExt cx="531211" cy="215444"/>
          </a:xfrm>
        </p:grpSpPr>
        <p:sp>
          <p:nvSpPr>
            <p:cNvPr id="94" name="Rectangle 93">
              <a:extLst>
                <a:ext uri="{FF2B5EF4-FFF2-40B4-BE49-F238E27FC236}">
                  <a16:creationId xmlns:a16="http://schemas.microsoft.com/office/drawing/2014/main" id="{C1F67908-E7E2-4232-B943-5A4D1BA4E337}"/>
                </a:ext>
              </a:extLst>
            </p:cNvPr>
            <p:cNvSpPr/>
            <p:nvPr/>
          </p:nvSpPr>
          <p:spPr>
            <a:xfrm>
              <a:off x="1492622" y="5185231"/>
              <a:ext cx="444128" cy="215444"/>
            </a:xfrm>
            <a:prstGeom prst="rect">
              <a:avLst/>
            </a:prstGeom>
          </p:spPr>
          <p:txBody>
            <a:bodyPr wrap="square" lIns="0" tIns="0" rIns="0" bIns="0">
              <a:spAutoFit/>
            </a:bodyPr>
            <a:lstStyle/>
            <a:p>
              <a:pPr lvl="0" algn="r" defTabSz="488950">
                <a:spcBef>
                  <a:spcPct val="0"/>
                </a:spcBef>
                <a:spcAft>
                  <a:spcPts val="200"/>
                </a:spcAft>
              </a:pPr>
              <a:r>
                <a:rPr lang="en-US" sz="1400" b="1" dirty="0">
                  <a:solidFill>
                    <a:schemeClr val="accent1">
                      <a:lumMod val="75000"/>
                    </a:schemeClr>
                  </a:solidFill>
                  <a:latin typeface="Arial" pitchFamily="34" charset="0"/>
                  <a:cs typeface="Arial" pitchFamily="34" charset="0"/>
                </a:rPr>
                <a:t>2019</a:t>
              </a:r>
            </a:p>
          </p:txBody>
        </p:sp>
        <p:sp>
          <p:nvSpPr>
            <p:cNvPr id="95" name="Isosceles Triangle 94">
              <a:extLst>
                <a:ext uri="{FF2B5EF4-FFF2-40B4-BE49-F238E27FC236}">
                  <a16:creationId xmlns:a16="http://schemas.microsoft.com/office/drawing/2014/main" id="{08A5C52D-21AF-4643-B5C6-6351A7A2650E}"/>
                </a:ext>
              </a:extLst>
            </p:cNvPr>
            <p:cNvSpPr/>
            <p:nvPr/>
          </p:nvSpPr>
          <p:spPr bwMode="auto">
            <a:xfrm rot="16200000">
              <a:off x="1382198" y="5246279"/>
              <a:ext cx="140032" cy="93349"/>
            </a:xfrm>
            <a:prstGeom prst="triangle">
              <a:avLst/>
            </a:prstGeom>
            <a:solidFill>
              <a:schemeClr val="bg2">
                <a:lumMod val="7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sp>
        <p:nvSpPr>
          <p:cNvPr id="96" name="Freeform 83">
            <a:extLst>
              <a:ext uri="{FF2B5EF4-FFF2-40B4-BE49-F238E27FC236}">
                <a16:creationId xmlns:a16="http://schemas.microsoft.com/office/drawing/2014/main" id="{F1F146FE-841A-4635-AFCC-F2F9C9745002}"/>
              </a:ext>
            </a:extLst>
          </p:cNvPr>
          <p:cNvSpPr/>
          <p:nvPr/>
        </p:nvSpPr>
        <p:spPr bwMode="auto">
          <a:xfrm flipH="1">
            <a:off x="7522885" y="1296499"/>
            <a:ext cx="1454938" cy="436247"/>
          </a:xfrm>
          <a:custGeom>
            <a:avLst/>
            <a:gdLst>
              <a:gd name="connsiteX0" fmla="*/ 0 w 1800743"/>
              <a:gd name="connsiteY0" fmla="*/ 157259 h 2341410"/>
              <a:gd name="connsiteX1" fmla="*/ 46060 w 1800743"/>
              <a:gd name="connsiteY1" fmla="*/ 46060 h 2341410"/>
              <a:gd name="connsiteX2" fmla="*/ 157259 w 1800743"/>
              <a:gd name="connsiteY2" fmla="*/ 0 h 2341410"/>
              <a:gd name="connsiteX3" fmla="*/ 1643484 w 1800743"/>
              <a:gd name="connsiteY3" fmla="*/ 0 h 2341410"/>
              <a:gd name="connsiteX4" fmla="*/ 1754683 w 1800743"/>
              <a:gd name="connsiteY4" fmla="*/ 46060 h 2341410"/>
              <a:gd name="connsiteX5" fmla="*/ 1800743 w 1800743"/>
              <a:gd name="connsiteY5" fmla="*/ 157259 h 2341410"/>
              <a:gd name="connsiteX6" fmla="*/ 1800743 w 1800743"/>
              <a:gd name="connsiteY6" fmla="*/ 2184151 h 2341410"/>
              <a:gd name="connsiteX7" fmla="*/ 1754683 w 1800743"/>
              <a:gd name="connsiteY7" fmla="*/ 2295350 h 2341410"/>
              <a:gd name="connsiteX8" fmla="*/ 1643484 w 1800743"/>
              <a:gd name="connsiteY8" fmla="*/ 2341410 h 2341410"/>
              <a:gd name="connsiteX9" fmla="*/ 157259 w 1800743"/>
              <a:gd name="connsiteY9" fmla="*/ 2341410 h 2341410"/>
              <a:gd name="connsiteX10" fmla="*/ 46060 w 1800743"/>
              <a:gd name="connsiteY10" fmla="*/ 2295350 h 2341410"/>
              <a:gd name="connsiteX11" fmla="*/ 0 w 1800743"/>
              <a:gd name="connsiteY11" fmla="*/ 2184151 h 2341410"/>
              <a:gd name="connsiteX12" fmla="*/ 0 w 1800743"/>
              <a:gd name="connsiteY12" fmla="*/ 157259 h 2341410"/>
              <a:gd name="connsiteX0" fmla="*/ 0 w 1917398"/>
              <a:gd name="connsiteY0" fmla="*/ 157259 h 2548176"/>
              <a:gd name="connsiteX1" fmla="*/ 46060 w 1917398"/>
              <a:gd name="connsiteY1" fmla="*/ 46060 h 2548176"/>
              <a:gd name="connsiteX2" fmla="*/ 157259 w 1917398"/>
              <a:gd name="connsiteY2" fmla="*/ 0 h 2548176"/>
              <a:gd name="connsiteX3" fmla="*/ 1643484 w 1917398"/>
              <a:gd name="connsiteY3" fmla="*/ 0 h 2548176"/>
              <a:gd name="connsiteX4" fmla="*/ 1754683 w 1917398"/>
              <a:gd name="connsiteY4" fmla="*/ 46060 h 2548176"/>
              <a:gd name="connsiteX5" fmla="*/ 1800743 w 1917398"/>
              <a:gd name="connsiteY5" fmla="*/ 157259 h 2548176"/>
              <a:gd name="connsiteX6" fmla="*/ 1800743 w 1917398"/>
              <a:gd name="connsiteY6" fmla="*/ 2184151 h 2548176"/>
              <a:gd name="connsiteX7" fmla="*/ 1643484 w 1917398"/>
              <a:gd name="connsiteY7" fmla="*/ 2341410 h 2548176"/>
              <a:gd name="connsiteX8" fmla="*/ 157259 w 1917398"/>
              <a:gd name="connsiteY8" fmla="*/ 2341410 h 2548176"/>
              <a:gd name="connsiteX9" fmla="*/ 46060 w 1917398"/>
              <a:gd name="connsiteY9" fmla="*/ 2295350 h 2548176"/>
              <a:gd name="connsiteX10" fmla="*/ 0 w 1917398"/>
              <a:gd name="connsiteY10" fmla="*/ 2184151 h 2548176"/>
              <a:gd name="connsiteX11" fmla="*/ 0 w 1917398"/>
              <a:gd name="connsiteY11" fmla="*/ 157259 h 2548176"/>
              <a:gd name="connsiteX0" fmla="*/ 1800743 w 1917398"/>
              <a:gd name="connsiteY0" fmla="*/ 2184151 h 2548176"/>
              <a:gd name="connsiteX1" fmla="*/ 1643484 w 1917398"/>
              <a:gd name="connsiteY1" fmla="*/ 2341410 h 2548176"/>
              <a:gd name="connsiteX2" fmla="*/ 157259 w 1917398"/>
              <a:gd name="connsiteY2" fmla="*/ 2341410 h 2548176"/>
              <a:gd name="connsiteX3" fmla="*/ 46060 w 1917398"/>
              <a:gd name="connsiteY3" fmla="*/ 2295350 h 2548176"/>
              <a:gd name="connsiteX4" fmla="*/ 0 w 1917398"/>
              <a:gd name="connsiteY4" fmla="*/ 2184151 h 2548176"/>
              <a:gd name="connsiteX5" fmla="*/ 0 w 1917398"/>
              <a:gd name="connsiteY5" fmla="*/ 157259 h 2548176"/>
              <a:gd name="connsiteX6" fmla="*/ 46060 w 1917398"/>
              <a:gd name="connsiteY6" fmla="*/ 46060 h 2548176"/>
              <a:gd name="connsiteX7" fmla="*/ 157259 w 1917398"/>
              <a:gd name="connsiteY7" fmla="*/ 0 h 2548176"/>
              <a:gd name="connsiteX8" fmla="*/ 1643484 w 1917398"/>
              <a:gd name="connsiteY8" fmla="*/ 0 h 2548176"/>
              <a:gd name="connsiteX9" fmla="*/ 1754683 w 1917398"/>
              <a:gd name="connsiteY9" fmla="*/ 46060 h 2548176"/>
              <a:gd name="connsiteX10" fmla="*/ 1800743 w 1917398"/>
              <a:gd name="connsiteY10" fmla="*/ 157259 h 2548176"/>
              <a:gd name="connsiteX11" fmla="*/ 1892183 w 1917398"/>
              <a:gd name="connsiteY11" fmla="*/ 2275591 h 2548176"/>
              <a:gd name="connsiteX0" fmla="*/ 1643484 w 1892183"/>
              <a:gd name="connsiteY0" fmla="*/ 2341410 h 2341410"/>
              <a:gd name="connsiteX1" fmla="*/ 157259 w 1892183"/>
              <a:gd name="connsiteY1" fmla="*/ 2341410 h 2341410"/>
              <a:gd name="connsiteX2" fmla="*/ 46060 w 1892183"/>
              <a:gd name="connsiteY2" fmla="*/ 2295350 h 2341410"/>
              <a:gd name="connsiteX3" fmla="*/ 0 w 1892183"/>
              <a:gd name="connsiteY3" fmla="*/ 2184151 h 2341410"/>
              <a:gd name="connsiteX4" fmla="*/ 0 w 1892183"/>
              <a:gd name="connsiteY4" fmla="*/ 157259 h 2341410"/>
              <a:gd name="connsiteX5" fmla="*/ 46060 w 1892183"/>
              <a:gd name="connsiteY5" fmla="*/ 46060 h 2341410"/>
              <a:gd name="connsiteX6" fmla="*/ 157259 w 1892183"/>
              <a:gd name="connsiteY6" fmla="*/ 0 h 2341410"/>
              <a:gd name="connsiteX7" fmla="*/ 1643484 w 1892183"/>
              <a:gd name="connsiteY7" fmla="*/ 0 h 2341410"/>
              <a:gd name="connsiteX8" fmla="*/ 1754683 w 1892183"/>
              <a:gd name="connsiteY8" fmla="*/ 46060 h 2341410"/>
              <a:gd name="connsiteX9" fmla="*/ 1800743 w 1892183"/>
              <a:gd name="connsiteY9" fmla="*/ 157259 h 2341410"/>
              <a:gd name="connsiteX10" fmla="*/ 1892183 w 1892183"/>
              <a:gd name="connsiteY10" fmla="*/ 2275591 h 2341410"/>
              <a:gd name="connsiteX0" fmla="*/ 1111824 w 1892183"/>
              <a:gd name="connsiteY0" fmla="*/ 2341410 h 2341410"/>
              <a:gd name="connsiteX1" fmla="*/ 157259 w 1892183"/>
              <a:gd name="connsiteY1" fmla="*/ 2341410 h 2341410"/>
              <a:gd name="connsiteX2" fmla="*/ 46060 w 1892183"/>
              <a:gd name="connsiteY2" fmla="*/ 2295350 h 2341410"/>
              <a:gd name="connsiteX3" fmla="*/ 0 w 1892183"/>
              <a:gd name="connsiteY3" fmla="*/ 2184151 h 2341410"/>
              <a:gd name="connsiteX4" fmla="*/ 0 w 1892183"/>
              <a:gd name="connsiteY4" fmla="*/ 157259 h 2341410"/>
              <a:gd name="connsiteX5" fmla="*/ 46060 w 1892183"/>
              <a:gd name="connsiteY5" fmla="*/ 46060 h 2341410"/>
              <a:gd name="connsiteX6" fmla="*/ 157259 w 1892183"/>
              <a:gd name="connsiteY6" fmla="*/ 0 h 2341410"/>
              <a:gd name="connsiteX7" fmla="*/ 1643484 w 1892183"/>
              <a:gd name="connsiteY7" fmla="*/ 0 h 2341410"/>
              <a:gd name="connsiteX8" fmla="*/ 1754683 w 1892183"/>
              <a:gd name="connsiteY8" fmla="*/ 46060 h 2341410"/>
              <a:gd name="connsiteX9" fmla="*/ 1800743 w 1892183"/>
              <a:gd name="connsiteY9" fmla="*/ 157259 h 2341410"/>
              <a:gd name="connsiteX10" fmla="*/ 1892183 w 1892183"/>
              <a:gd name="connsiteY10" fmla="*/ 2275591 h 2341410"/>
              <a:gd name="connsiteX0" fmla="*/ 1111824 w 1800743"/>
              <a:gd name="connsiteY0" fmla="*/ 2341410 h 2341410"/>
              <a:gd name="connsiteX1" fmla="*/ 157259 w 1800743"/>
              <a:gd name="connsiteY1" fmla="*/ 2341410 h 2341410"/>
              <a:gd name="connsiteX2" fmla="*/ 46060 w 1800743"/>
              <a:gd name="connsiteY2" fmla="*/ 2295350 h 2341410"/>
              <a:gd name="connsiteX3" fmla="*/ 0 w 1800743"/>
              <a:gd name="connsiteY3" fmla="*/ 2184151 h 2341410"/>
              <a:gd name="connsiteX4" fmla="*/ 0 w 1800743"/>
              <a:gd name="connsiteY4" fmla="*/ 157259 h 2341410"/>
              <a:gd name="connsiteX5" fmla="*/ 46060 w 1800743"/>
              <a:gd name="connsiteY5" fmla="*/ 46060 h 2341410"/>
              <a:gd name="connsiteX6" fmla="*/ 157259 w 1800743"/>
              <a:gd name="connsiteY6" fmla="*/ 0 h 2341410"/>
              <a:gd name="connsiteX7" fmla="*/ 1643484 w 1800743"/>
              <a:gd name="connsiteY7" fmla="*/ 0 h 2341410"/>
              <a:gd name="connsiteX8" fmla="*/ 1754683 w 1800743"/>
              <a:gd name="connsiteY8" fmla="*/ 46060 h 2341410"/>
              <a:gd name="connsiteX9" fmla="*/ 1800743 w 1800743"/>
              <a:gd name="connsiteY9" fmla="*/ 157259 h 2341410"/>
              <a:gd name="connsiteX0" fmla="*/ 1111824 w 1754683"/>
              <a:gd name="connsiteY0" fmla="*/ 2341410 h 2341410"/>
              <a:gd name="connsiteX1" fmla="*/ 157259 w 1754683"/>
              <a:gd name="connsiteY1" fmla="*/ 2341410 h 2341410"/>
              <a:gd name="connsiteX2" fmla="*/ 46060 w 1754683"/>
              <a:gd name="connsiteY2" fmla="*/ 2295350 h 2341410"/>
              <a:gd name="connsiteX3" fmla="*/ 0 w 1754683"/>
              <a:gd name="connsiteY3" fmla="*/ 2184151 h 2341410"/>
              <a:gd name="connsiteX4" fmla="*/ 0 w 1754683"/>
              <a:gd name="connsiteY4" fmla="*/ 157259 h 2341410"/>
              <a:gd name="connsiteX5" fmla="*/ 46060 w 1754683"/>
              <a:gd name="connsiteY5" fmla="*/ 46060 h 2341410"/>
              <a:gd name="connsiteX6" fmla="*/ 157259 w 1754683"/>
              <a:gd name="connsiteY6" fmla="*/ 0 h 2341410"/>
              <a:gd name="connsiteX7" fmla="*/ 1643484 w 1754683"/>
              <a:gd name="connsiteY7" fmla="*/ 0 h 2341410"/>
              <a:gd name="connsiteX8" fmla="*/ 1754683 w 1754683"/>
              <a:gd name="connsiteY8" fmla="*/ 46060 h 2341410"/>
              <a:gd name="connsiteX0" fmla="*/ 1111824 w 1643484"/>
              <a:gd name="connsiteY0" fmla="*/ 2341410 h 2341410"/>
              <a:gd name="connsiteX1" fmla="*/ 157259 w 1643484"/>
              <a:gd name="connsiteY1" fmla="*/ 2341410 h 2341410"/>
              <a:gd name="connsiteX2" fmla="*/ 46060 w 1643484"/>
              <a:gd name="connsiteY2" fmla="*/ 2295350 h 2341410"/>
              <a:gd name="connsiteX3" fmla="*/ 0 w 1643484"/>
              <a:gd name="connsiteY3" fmla="*/ 2184151 h 2341410"/>
              <a:gd name="connsiteX4" fmla="*/ 0 w 1643484"/>
              <a:gd name="connsiteY4" fmla="*/ 157259 h 2341410"/>
              <a:gd name="connsiteX5" fmla="*/ 46060 w 1643484"/>
              <a:gd name="connsiteY5" fmla="*/ 46060 h 2341410"/>
              <a:gd name="connsiteX6" fmla="*/ 157259 w 1643484"/>
              <a:gd name="connsiteY6" fmla="*/ 0 h 2341410"/>
              <a:gd name="connsiteX7" fmla="*/ 1643484 w 1643484"/>
              <a:gd name="connsiteY7" fmla="*/ 0 h 2341410"/>
              <a:gd name="connsiteX0" fmla="*/ 1111824 w 1111824"/>
              <a:gd name="connsiteY0" fmla="*/ 2341410 h 2341410"/>
              <a:gd name="connsiteX1" fmla="*/ 157259 w 1111824"/>
              <a:gd name="connsiteY1" fmla="*/ 2341410 h 2341410"/>
              <a:gd name="connsiteX2" fmla="*/ 46060 w 1111824"/>
              <a:gd name="connsiteY2" fmla="*/ 2295350 h 2341410"/>
              <a:gd name="connsiteX3" fmla="*/ 0 w 1111824"/>
              <a:gd name="connsiteY3" fmla="*/ 2184151 h 2341410"/>
              <a:gd name="connsiteX4" fmla="*/ 0 w 1111824"/>
              <a:gd name="connsiteY4" fmla="*/ 157259 h 2341410"/>
              <a:gd name="connsiteX5" fmla="*/ 46060 w 1111824"/>
              <a:gd name="connsiteY5" fmla="*/ 46060 h 2341410"/>
              <a:gd name="connsiteX6" fmla="*/ 157259 w 1111824"/>
              <a:gd name="connsiteY6" fmla="*/ 0 h 2341410"/>
              <a:gd name="connsiteX7" fmla="*/ 299258 w 1111824"/>
              <a:gd name="connsiteY7" fmla="*/ 0 h 2341410"/>
              <a:gd name="connsiteX0" fmla="*/ 1111824 w 1111824"/>
              <a:gd name="connsiteY0" fmla="*/ 2341410 h 2341410"/>
              <a:gd name="connsiteX1" fmla="*/ 157259 w 1111824"/>
              <a:gd name="connsiteY1" fmla="*/ 2341410 h 2341410"/>
              <a:gd name="connsiteX2" fmla="*/ 46060 w 1111824"/>
              <a:gd name="connsiteY2" fmla="*/ 2295350 h 2341410"/>
              <a:gd name="connsiteX3" fmla="*/ 0 w 1111824"/>
              <a:gd name="connsiteY3" fmla="*/ 2184151 h 2341410"/>
              <a:gd name="connsiteX4" fmla="*/ 0 w 1111824"/>
              <a:gd name="connsiteY4" fmla="*/ 157259 h 2341410"/>
              <a:gd name="connsiteX5" fmla="*/ 46060 w 1111824"/>
              <a:gd name="connsiteY5" fmla="*/ 46060 h 2341410"/>
              <a:gd name="connsiteX6" fmla="*/ 157259 w 1111824"/>
              <a:gd name="connsiteY6" fmla="*/ 0 h 2341410"/>
              <a:gd name="connsiteX7" fmla="*/ 299838 w 1111824"/>
              <a:gd name="connsiteY7" fmla="*/ 0 h 2341410"/>
              <a:gd name="connsiteX0" fmla="*/ 1111824 w 7489394"/>
              <a:gd name="connsiteY0" fmla="*/ 2341410 h 2341410"/>
              <a:gd name="connsiteX1" fmla="*/ 157259 w 7489394"/>
              <a:gd name="connsiteY1" fmla="*/ 2341410 h 2341410"/>
              <a:gd name="connsiteX2" fmla="*/ 46060 w 7489394"/>
              <a:gd name="connsiteY2" fmla="*/ 2295350 h 2341410"/>
              <a:gd name="connsiteX3" fmla="*/ 0 w 7489394"/>
              <a:gd name="connsiteY3" fmla="*/ 2184151 h 2341410"/>
              <a:gd name="connsiteX4" fmla="*/ 0 w 7489394"/>
              <a:gd name="connsiteY4" fmla="*/ 157259 h 2341410"/>
              <a:gd name="connsiteX5" fmla="*/ 46060 w 7489394"/>
              <a:gd name="connsiteY5" fmla="*/ 46060 h 2341410"/>
              <a:gd name="connsiteX6" fmla="*/ 157259 w 7489394"/>
              <a:gd name="connsiteY6" fmla="*/ 0 h 2341410"/>
              <a:gd name="connsiteX7" fmla="*/ 7489394 w 7489394"/>
              <a:gd name="connsiteY7" fmla="*/ 0 h 2341410"/>
              <a:gd name="connsiteX0" fmla="*/ 1111824 w 7808868"/>
              <a:gd name="connsiteY0" fmla="*/ 2341410 h 2341410"/>
              <a:gd name="connsiteX1" fmla="*/ 157259 w 7808868"/>
              <a:gd name="connsiteY1" fmla="*/ 2341410 h 2341410"/>
              <a:gd name="connsiteX2" fmla="*/ 46060 w 7808868"/>
              <a:gd name="connsiteY2" fmla="*/ 2295350 h 2341410"/>
              <a:gd name="connsiteX3" fmla="*/ 0 w 7808868"/>
              <a:gd name="connsiteY3" fmla="*/ 2184151 h 2341410"/>
              <a:gd name="connsiteX4" fmla="*/ 0 w 7808868"/>
              <a:gd name="connsiteY4" fmla="*/ 157259 h 2341410"/>
              <a:gd name="connsiteX5" fmla="*/ 46060 w 7808868"/>
              <a:gd name="connsiteY5" fmla="*/ 46060 h 2341410"/>
              <a:gd name="connsiteX6" fmla="*/ 157259 w 7808868"/>
              <a:gd name="connsiteY6" fmla="*/ 0 h 2341410"/>
              <a:gd name="connsiteX7" fmla="*/ 7808868 w 7808868"/>
              <a:gd name="connsiteY7" fmla="*/ 0 h 234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08868" h="2341410">
                <a:moveTo>
                  <a:pt x="1111824" y="2341410"/>
                </a:moveTo>
                <a:lnTo>
                  <a:pt x="157259" y="2341410"/>
                </a:lnTo>
                <a:cubicBezTo>
                  <a:pt x="115551" y="2341410"/>
                  <a:pt x="75552" y="2324842"/>
                  <a:pt x="46060" y="2295350"/>
                </a:cubicBezTo>
                <a:cubicBezTo>
                  <a:pt x="16568" y="2265858"/>
                  <a:pt x="0" y="2225859"/>
                  <a:pt x="0" y="2184151"/>
                </a:cubicBezTo>
                <a:lnTo>
                  <a:pt x="0" y="157259"/>
                </a:lnTo>
                <a:cubicBezTo>
                  <a:pt x="0" y="115551"/>
                  <a:pt x="16568" y="75552"/>
                  <a:pt x="46060" y="46060"/>
                </a:cubicBezTo>
                <a:cubicBezTo>
                  <a:pt x="75552" y="16568"/>
                  <a:pt x="115551" y="0"/>
                  <a:pt x="157259" y="0"/>
                </a:cubicBezTo>
                <a:lnTo>
                  <a:pt x="7808868" y="0"/>
                </a:lnTo>
              </a:path>
            </a:pathLst>
          </a:custGeom>
          <a:noFill/>
          <a:ln w="12700" cap="flat">
            <a:solidFill>
              <a:srgbClr val="598F3F"/>
            </a:solidFill>
            <a:prstDash val="solid"/>
            <a:round/>
            <a:headEnd type="oval"/>
            <a:tailEnd type="oval"/>
          </a:ln>
        </p:spPr>
        <p:txBody>
          <a:bodyPr vert="horz" wrap="square" lIns="91440" tIns="45720" rIns="91440" bIns="45720" numCol="1" anchor="t" anchorCtr="0" compatLnSpc="1">
            <a:prstTxWarp prst="textNoShape">
              <a:avLst/>
            </a:prstTxWarp>
          </a:bodyPr>
          <a:lstStyle/>
          <a:p>
            <a:pPr marR="0" indent="0" fontAlgn="base">
              <a:lnSpc>
                <a:spcPct val="85000"/>
              </a:lnSpc>
              <a:spcBef>
                <a:spcPct val="0"/>
              </a:spcBef>
              <a:spcAft>
                <a:spcPct val="0"/>
              </a:spcAft>
              <a:buClrTx/>
              <a:buSzTx/>
              <a:buFontTx/>
              <a:buNone/>
              <a:tabLst/>
            </a:pPr>
            <a:endParaRPr lang="en-US" dirty="0"/>
          </a:p>
        </p:txBody>
      </p:sp>
      <p:sp>
        <p:nvSpPr>
          <p:cNvPr id="97" name="Freeform 85">
            <a:extLst>
              <a:ext uri="{FF2B5EF4-FFF2-40B4-BE49-F238E27FC236}">
                <a16:creationId xmlns:a16="http://schemas.microsoft.com/office/drawing/2014/main" id="{E9CE3BD7-932B-4BED-BD3A-3ADDEDFB809A}"/>
              </a:ext>
            </a:extLst>
          </p:cNvPr>
          <p:cNvSpPr/>
          <p:nvPr/>
        </p:nvSpPr>
        <p:spPr bwMode="auto">
          <a:xfrm flipH="1">
            <a:off x="7649885" y="1243159"/>
            <a:ext cx="1454938" cy="436247"/>
          </a:xfrm>
          <a:custGeom>
            <a:avLst/>
            <a:gdLst>
              <a:gd name="connsiteX0" fmla="*/ 0 w 1800743"/>
              <a:gd name="connsiteY0" fmla="*/ 157259 h 2341410"/>
              <a:gd name="connsiteX1" fmla="*/ 46060 w 1800743"/>
              <a:gd name="connsiteY1" fmla="*/ 46060 h 2341410"/>
              <a:gd name="connsiteX2" fmla="*/ 157259 w 1800743"/>
              <a:gd name="connsiteY2" fmla="*/ 0 h 2341410"/>
              <a:gd name="connsiteX3" fmla="*/ 1643484 w 1800743"/>
              <a:gd name="connsiteY3" fmla="*/ 0 h 2341410"/>
              <a:gd name="connsiteX4" fmla="*/ 1754683 w 1800743"/>
              <a:gd name="connsiteY4" fmla="*/ 46060 h 2341410"/>
              <a:gd name="connsiteX5" fmla="*/ 1800743 w 1800743"/>
              <a:gd name="connsiteY5" fmla="*/ 157259 h 2341410"/>
              <a:gd name="connsiteX6" fmla="*/ 1800743 w 1800743"/>
              <a:gd name="connsiteY6" fmla="*/ 2184151 h 2341410"/>
              <a:gd name="connsiteX7" fmla="*/ 1754683 w 1800743"/>
              <a:gd name="connsiteY7" fmla="*/ 2295350 h 2341410"/>
              <a:gd name="connsiteX8" fmla="*/ 1643484 w 1800743"/>
              <a:gd name="connsiteY8" fmla="*/ 2341410 h 2341410"/>
              <a:gd name="connsiteX9" fmla="*/ 157259 w 1800743"/>
              <a:gd name="connsiteY9" fmla="*/ 2341410 h 2341410"/>
              <a:gd name="connsiteX10" fmla="*/ 46060 w 1800743"/>
              <a:gd name="connsiteY10" fmla="*/ 2295350 h 2341410"/>
              <a:gd name="connsiteX11" fmla="*/ 0 w 1800743"/>
              <a:gd name="connsiteY11" fmla="*/ 2184151 h 2341410"/>
              <a:gd name="connsiteX12" fmla="*/ 0 w 1800743"/>
              <a:gd name="connsiteY12" fmla="*/ 157259 h 2341410"/>
              <a:gd name="connsiteX0" fmla="*/ 0 w 1917398"/>
              <a:gd name="connsiteY0" fmla="*/ 157259 h 2548176"/>
              <a:gd name="connsiteX1" fmla="*/ 46060 w 1917398"/>
              <a:gd name="connsiteY1" fmla="*/ 46060 h 2548176"/>
              <a:gd name="connsiteX2" fmla="*/ 157259 w 1917398"/>
              <a:gd name="connsiteY2" fmla="*/ 0 h 2548176"/>
              <a:gd name="connsiteX3" fmla="*/ 1643484 w 1917398"/>
              <a:gd name="connsiteY3" fmla="*/ 0 h 2548176"/>
              <a:gd name="connsiteX4" fmla="*/ 1754683 w 1917398"/>
              <a:gd name="connsiteY4" fmla="*/ 46060 h 2548176"/>
              <a:gd name="connsiteX5" fmla="*/ 1800743 w 1917398"/>
              <a:gd name="connsiteY5" fmla="*/ 157259 h 2548176"/>
              <a:gd name="connsiteX6" fmla="*/ 1800743 w 1917398"/>
              <a:gd name="connsiteY6" fmla="*/ 2184151 h 2548176"/>
              <a:gd name="connsiteX7" fmla="*/ 1643484 w 1917398"/>
              <a:gd name="connsiteY7" fmla="*/ 2341410 h 2548176"/>
              <a:gd name="connsiteX8" fmla="*/ 157259 w 1917398"/>
              <a:gd name="connsiteY8" fmla="*/ 2341410 h 2548176"/>
              <a:gd name="connsiteX9" fmla="*/ 46060 w 1917398"/>
              <a:gd name="connsiteY9" fmla="*/ 2295350 h 2548176"/>
              <a:gd name="connsiteX10" fmla="*/ 0 w 1917398"/>
              <a:gd name="connsiteY10" fmla="*/ 2184151 h 2548176"/>
              <a:gd name="connsiteX11" fmla="*/ 0 w 1917398"/>
              <a:gd name="connsiteY11" fmla="*/ 157259 h 2548176"/>
              <a:gd name="connsiteX0" fmla="*/ 1800743 w 1917398"/>
              <a:gd name="connsiteY0" fmla="*/ 2184151 h 2548176"/>
              <a:gd name="connsiteX1" fmla="*/ 1643484 w 1917398"/>
              <a:gd name="connsiteY1" fmla="*/ 2341410 h 2548176"/>
              <a:gd name="connsiteX2" fmla="*/ 157259 w 1917398"/>
              <a:gd name="connsiteY2" fmla="*/ 2341410 h 2548176"/>
              <a:gd name="connsiteX3" fmla="*/ 46060 w 1917398"/>
              <a:gd name="connsiteY3" fmla="*/ 2295350 h 2548176"/>
              <a:gd name="connsiteX4" fmla="*/ 0 w 1917398"/>
              <a:gd name="connsiteY4" fmla="*/ 2184151 h 2548176"/>
              <a:gd name="connsiteX5" fmla="*/ 0 w 1917398"/>
              <a:gd name="connsiteY5" fmla="*/ 157259 h 2548176"/>
              <a:gd name="connsiteX6" fmla="*/ 46060 w 1917398"/>
              <a:gd name="connsiteY6" fmla="*/ 46060 h 2548176"/>
              <a:gd name="connsiteX7" fmla="*/ 157259 w 1917398"/>
              <a:gd name="connsiteY7" fmla="*/ 0 h 2548176"/>
              <a:gd name="connsiteX8" fmla="*/ 1643484 w 1917398"/>
              <a:gd name="connsiteY8" fmla="*/ 0 h 2548176"/>
              <a:gd name="connsiteX9" fmla="*/ 1754683 w 1917398"/>
              <a:gd name="connsiteY9" fmla="*/ 46060 h 2548176"/>
              <a:gd name="connsiteX10" fmla="*/ 1800743 w 1917398"/>
              <a:gd name="connsiteY10" fmla="*/ 157259 h 2548176"/>
              <a:gd name="connsiteX11" fmla="*/ 1892183 w 1917398"/>
              <a:gd name="connsiteY11" fmla="*/ 2275591 h 2548176"/>
              <a:gd name="connsiteX0" fmla="*/ 1643484 w 1892183"/>
              <a:gd name="connsiteY0" fmla="*/ 2341410 h 2341410"/>
              <a:gd name="connsiteX1" fmla="*/ 157259 w 1892183"/>
              <a:gd name="connsiteY1" fmla="*/ 2341410 h 2341410"/>
              <a:gd name="connsiteX2" fmla="*/ 46060 w 1892183"/>
              <a:gd name="connsiteY2" fmla="*/ 2295350 h 2341410"/>
              <a:gd name="connsiteX3" fmla="*/ 0 w 1892183"/>
              <a:gd name="connsiteY3" fmla="*/ 2184151 h 2341410"/>
              <a:gd name="connsiteX4" fmla="*/ 0 w 1892183"/>
              <a:gd name="connsiteY4" fmla="*/ 157259 h 2341410"/>
              <a:gd name="connsiteX5" fmla="*/ 46060 w 1892183"/>
              <a:gd name="connsiteY5" fmla="*/ 46060 h 2341410"/>
              <a:gd name="connsiteX6" fmla="*/ 157259 w 1892183"/>
              <a:gd name="connsiteY6" fmla="*/ 0 h 2341410"/>
              <a:gd name="connsiteX7" fmla="*/ 1643484 w 1892183"/>
              <a:gd name="connsiteY7" fmla="*/ 0 h 2341410"/>
              <a:gd name="connsiteX8" fmla="*/ 1754683 w 1892183"/>
              <a:gd name="connsiteY8" fmla="*/ 46060 h 2341410"/>
              <a:gd name="connsiteX9" fmla="*/ 1800743 w 1892183"/>
              <a:gd name="connsiteY9" fmla="*/ 157259 h 2341410"/>
              <a:gd name="connsiteX10" fmla="*/ 1892183 w 1892183"/>
              <a:gd name="connsiteY10" fmla="*/ 2275591 h 2341410"/>
              <a:gd name="connsiteX0" fmla="*/ 1111824 w 1892183"/>
              <a:gd name="connsiteY0" fmla="*/ 2341410 h 2341410"/>
              <a:gd name="connsiteX1" fmla="*/ 157259 w 1892183"/>
              <a:gd name="connsiteY1" fmla="*/ 2341410 h 2341410"/>
              <a:gd name="connsiteX2" fmla="*/ 46060 w 1892183"/>
              <a:gd name="connsiteY2" fmla="*/ 2295350 h 2341410"/>
              <a:gd name="connsiteX3" fmla="*/ 0 w 1892183"/>
              <a:gd name="connsiteY3" fmla="*/ 2184151 h 2341410"/>
              <a:gd name="connsiteX4" fmla="*/ 0 w 1892183"/>
              <a:gd name="connsiteY4" fmla="*/ 157259 h 2341410"/>
              <a:gd name="connsiteX5" fmla="*/ 46060 w 1892183"/>
              <a:gd name="connsiteY5" fmla="*/ 46060 h 2341410"/>
              <a:gd name="connsiteX6" fmla="*/ 157259 w 1892183"/>
              <a:gd name="connsiteY6" fmla="*/ 0 h 2341410"/>
              <a:gd name="connsiteX7" fmla="*/ 1643484 w 1892183"/>
              <a:gd name="connsiteY7" fmla="*/ 0 h 2341410"/>
              <a:gd name="connsiteX8" fmla="*/ 1754683 w 1892183"/>
              <a:gd name="connsiteY8" fmla="*/ 46060 h 2341410"/>
              <a:gd name="connsiteX9" fmla="*/ 1800743 w 1892183"/>
              <a:gd name="connsiteY9" fmla="*/ 157259 h 2341410"/>
              <a:gd name="connsiteX10" fmla="*/ 1892183 w 1892183"/>
              <a:gd name="connsiteY10" fmla="*/ 2275591 h 2341410"/>
              <a:gd name="connsiteX0" fmla="*/ 1111824 w 1800743"/>
              <a:gd name="connsiteY0" fmla="*/ 2341410 h 2341410"/>
              <a:gd name="connsiteX1" fmla="*/ 157259 w 1800743"/>
              <a:gd name="connsiteY1" fmla="*/ 2341410 h 2341410"/>
              <a:gd name="connsiteX2" fmla="*/ 46060 w 1800743"/>
              <a:gd name="connsiteY2" fmla="*/ 2295350 h 2341410"/>
              <a:gd name="connsiteX3" fmla="*/ 0 w 1800743"/>
              <a:gd name="connsiteY3" fmla="*/ 2184151 h 2341410"/>
              <a:gd name="connsiteX4" fmla="*/ 0 w 1800743"/>
              <a:gd name="connsiteY4" fmla="*/ 157259 h 2341410"/>
              <a:gd name="connsiteX5" fmla="*/ 46060 w 1800743"/>
              <a:gd name="connsiteY5" fmla="*/ 46060 h 2341410"/>
              <a:gd name="connsiteX6" fmla="*/ 157259 w 1800743"/>
              <a:gd name="connsiteY6" fmla="*/ 0 h 2341410"/>
              <a:gd name="connsiteX7" fmla="*/ 1643484 w 1800743"/>
              <a:gd name="connsiteY7" fmla="*/ 0 h 2341410"/>
              <a:gd name="connsiteX8" fmla="*/ 1754683 w 1800743"/>
              <a:gd name="connsiteY8" fmla="*/ 46060 h 2341410"/>
              <a:gd name="connsiteX9" fmla="*/ 1800743 w 1800743"/>
              <a:gd name="connsiteY9" fmla="*/ 157259 h 2341410"/>
              <a:gd name="connsiteX0" fmla="*/ 1111824 w 1754683"/>
              <a:gd name="connsiteY0" fmla="*/ 2341410 h 2341410"/>
              <a:gd name="connsiteX1" fmla="*/ 157259 w 1754683"/>
              <a:gd name="connsiteY1" fmla="*/ 2341410 h 2341410"/>
              <a:gd name="connsiteX2" fmla="*/ 46060 w 1754683"/>
              <a:gd name="connsiteY2" fmla="*/ 2295350 h 2341410"/>
              <a:gd name="connsiteX3" fmla="*/ 0 w 1754683"/>
              <a:gd name="connsiteY3" fmla="*/ 2184151 h 2341410"/>
              <a:gd name="connsiteX4" fmla="*/ 0 w 1754683"/>
              <a:gd name="connsiteY4" fmla="*/ 157259 h 2341410"/>
              <a:gd name="connsiteX5" fmla="*/ 46060 w 1754683"/>
              <a:gd name="connsiteY5" fmla="*/ 46060 h 2341410"/>
              <a:gd name="connsiteX6" fmla="*/ 157259 w 1754683"/>
              <a:gd name="connsiteY6" fmla="*/ 0 h 2341410"/>
              <a:gd name="connsiteX7" fmla="*/ 1643484 w 1754683"/>
              <a:gd name="connsiteY7" fmla="*/ 0 h 2341410"/>
              <a:gd name="connsiteX8" fmla="*/ 1754683 w 1754683"/>
              <a:gd name="connsiteY8" fmla="*/ 46060 h 2341410"/>
              <a:gd name="connsiteX0" fmla="*/ 1111824 w 1643484"/>
              <a:gd name="connsiteY0" fmla="*/ 2341410 h 2341410"/>
              <a:gd name="connsiteX1" fmla="*/ 157259 w 1643484"/>
              <a:gd name="connsiteY1" fmla="*/ 2341410 h 2341410"/>
              <a:gd name="connsiteX2" fmla="*/ 46060 w 1643484"/>
              <a:gd name="connsiteY2" fmla="*/ 2295350 h 2341410"/>
              <a:gd name="connsiteX3" fmla="*/ 0 w 1643484"/>
              <a:gd name="connsiteY3" fmla="*/ 2184151 h 2341410"/>
              <a:gd name="connsiteX4" fmla="*/ 0 w 1643484"/>
              <a:gd name="connsiteY4" fmla="*/ 157259 h 2341410"/>
              <a:gd name="connsiteX5" fmla="*/ 46060 w 1643484"/>
              <a:gd name="connsiteY5" fmla="*/ 46060 h 2341410"/>
              <a:gd name="connsiteX6" fmla="*/ 157259 w 1643484"/>
              <a:gd name="connsiteY6" fmla="*/ 0 h 2341410"/>
              <a:gd name="connsiteX7" fmla="*/ 1643484 w 1643484"/>
              <a:gd name="connsiteY7" fmla="*/ 0 h 2341410"/>
              <a:gd name="connsiteX0" fmla="*/ 1111824 w 1111824"/>
              <a:gd name="connsiteY0" fmla="*/ 2341410 h 2341410"/>
              <a:gd name="connsiteX1" fmla="*/ 157259 w 1111824"/>
              <a:gd name="connsiteY1" fmla="*/ 2341410 h 2341410"/>
              <a:gd name="connsiteX2" fmla="*/ 46060 w 1111824"/>
              <a:gd name="connsiteY2" fmla="*/ 2295350 h 2341410"/>
              <a:gd name="connsiteX3" fmla="*/ 0 w 1111824"/>
              <a:gd name="connsiteY3" fmla="*/ 2184151 h 2341410"/>
              <a:gd name="connsiteX4" fmla="*/ 0 w 1111824"/>
              <a:gd name="connsiteY4" fmla="*/ 157259 h 2341410"/>
              <a:gd name="connsiteX5" fmla="*/ 46060 w 1111824"/>
              <a:gd name="connsiteY5" fmla="*/ 46060 h 2341410"/>
              <a:gd name="connsiteX6" fmla="*/ 157259 w 1111824"/>
              <a:gd name="connsiteY6" fmla="*/ 0 h 2341410"/>
              <a:gd name="connsiteX7" fmla="*/ 299258 w 1111824"/>
              <a:gd name="connsiteY7" fmla="*/ 0 h 2341410"/>
              <a:gd name="connsiteX0" fmla="*/ 1111824 w 1111824"/>
              <a:gd name="connsiteY0" fmla="*/ 2341410 h 2341410"/>
              <a:gd name="connsiteX1" fmla="*/ 157259 w 1111824"/>
              <a:gd name="connsiteY1" fmla="*/ 2341410 h 2341410"/>
              <a:gd name="connsiteX2" fmla="*/ 46060 w 1111824"/>
              <a:gd name="connsiteY2" fmla="*/ 2295350 h 2341410"/>
              <a:gd name="connsiteX3" fmla="*/ 0 w 1111824"/>
              <a:gd name="connsiteY3" fmla="*/ 2184151 h 2341410"/>
              <a:gd name="connsiteX4" fmla="*/ 0 w 1111824"/>
              <a:gd name="connsiteY4" fmla="*/ 157259 h 2341410"/>
              <a:gd name="connsiteX5" fmla="*/ 46060 w 1111824"/>
              <a:gd name="connsiteY5" fmla="*/ 46060 h 2341410"/>
              <a:gd name="connsiteX6" fmla="*/ 157259 w 1111824"/>
              <a:gd name="connsiteY6" fmla="*/ 0 h 2341410"/>
              <a:gd name="connsiteX7" fmla="*/ 299838 w 1111824"/>
              <a:gd name="connsiteY7" fmla="*/ 0 h 2341410"/>
              <a:gd name="connsiteX0" fmla="*/ 1111824 w 7489394"/>
              <a:gd name="connsiteY0" fmla="*/ 2341410 h 2341410"/>
              <a:gd name="connsiteX1" fmla="*/ 157259 w 7489394"/>
              <a:gd name="connsiteY1" fmla="*/ 2341410 h 2341410"/>
              <a:gd name="connsiteX2" fmla="*/ 46060 w 7489394"/>
              <a:gd name="connsiteY2" fmla="*/ 2295350 h 2341410"/>
              <a:gd name="connsiteX3" fmla="*/ 0 w 7489394"/>
              <a:gd name="connsiteY3" fmla="*/ 2184151 h 2341410"/>
              <a:gd name="connsiteX4" fmla="*/ 0 w 7489394"/>
              <a:gd name="connsiteY4" fmla="*/ 157259 h 2341410"/>
              <a:gd name="connsiteX5" fmla="*/ 46060 w 7489394"/>
              <a:gd name="connsiteY5" fmla="*/ 46060 h 2341410"/>
              <a:gd name="connsiteX6" fmla="*/ 157259 w 7489394"/>
              <a:gd name="connsiteY6" fmla="*/ 0 h 2341410"/>
              <a:gd name="connsiteX7" fmla="*/ 7489394 w 7489394"/>
              <a:gd name="connsiteY7" fmla="*/ 0 h 2341410"/>
              <a:gd name="connsiteX0" fmla="*/ 1111824 w 7808868"/>
              <a:gd name="connsiteY0" fmla="*/ 2341410 h 2341410"/>
              <a:gd name="connsiteX1" fmla="*/ 157259 w 7808868"/>
              <a:gd name="connsiteY1" fmla="*/ 2341410 h 2341410"/>
              <a:gd name="connsiteX2" fmla="*/ 46060 w 7808868"/>
              <a:gd name="connsiteY2" fmla="*/ 2295350 h 2341410"/>
              <a:gd name="connsiteX3" fmla="*/ 0 w 7808868"/>
              <a:gd name="connsiteY3" fmla="*/ 2184151 h 2341410"/>
              <a:gd name="connsiteX4" fmla="*/ 0 w 7808868"/>
              <a:gd name="connsiteY4" fmla="*/ 157259 h 2341410"/>
              <a:gd name="connsiteX5" fmla="*/ 46060 w 7808868"/>
              <a:gd name="connsiteY5" fmla="*/ 46060 h 2341410"/>
              <a:gd name="connsiteX6" fmla="*/ 157259 w 7808868"/>
              <a:gd name="connsiteY6" fmla="*/ 0 h 2341410"/>
              <a:gd name="connsiteX7" fmla="*/ 7808868 w 7808868"/>
              <a:gd name="connsiteY7" fmla="*/ 0 h 234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08868" h="2341410">
                <a:moveTo>
                  <a:pt x="1111824" y="2341410"/>
                </a:moveTo>
                <a:lnTo>
                  <a:pt x="157259" y="2341410"/>
                </a:lnTo>
                <a:cubicBezTo>
                  <a:pt x="115551" y="2341410"/>
                  <a:pt x="75552" y="2324842"/>
                  <a:pt x="46060" y="2295350"/>
                </a:cubicBezTo>
                <a:cubicBezTo>
                  <a:pt x="16568" y="2265858"/>
                  <a:pt x="0" y="2225859"/>
                  <a:pt x="0" y="2184151"/>
                </a:cubicBezTo>
                <a:lnTo>
                  <a:pt x="0" y="157259"/>
                </a:lnTo>
                <a:cubicBezTo>
                  <a:pt x="0" y="115551"/>
                  <a:pt x="16568" y="75552"/>
                  <a:pt x="46060" y="46060"/>
                </a:cubicBezTo>
                <a:cubicBezTo>
                  <a:pt x="75552" y="16568"/>
                  <a:pt x="115551" y="0"/>
                  <a:pt x="157259" y="0"/>
                </a:cubicBezTo>
                <a:lnTo>
                  <a:pt x="7808868" y="0"/>
                </a:lnTo>
              </a:path>
            </a:pathLst>
          </a:custGeom>
          <a:noFill/>
          <a:ln w="12700" cap="flat">
            <a:solidFill>
              <a:schemeClr val="bg1">
                <a:lumMod val="65000"/>
              </a:schemeClr>
            </a:solidFill>
            <a:prstDash val="solid"/>
            <a:round/>
            <a:headEnd type="none"/>
            <a:tailEnd type="none"/>
          </a:ln>
        </p:spPr>
        <p:txBody>
          <a:bodyPr vert="horz" wrap="square" lIns="91440" tIns="45720" rIns="91440" bIns="45720" numCol="1" anchor="t" anchorCtr="0" compatLnSpc="1">
            <a:prstTxWarp prst="textNoShape">
              <a:avLst/>
            </a:prstTxWarp>
          </a:bodyPr>
          <a:lstStyle/>
          <a:p>
            <a:pPr marR="0" indent="0" fontAlgn="base">
              <a:lnSpc>
                <a:spcPct val="85000"/>
              </a:lnSpc>
              <a:spcBef>
                <a:spcPct val="0"/>
              </a:spcBef>
              <a:spcAft>
                <a:spcPct val="0"/>
              </a:spcAft>
              <a:buClrTx/>
              <a:buSzTx/>
              <a:buFontTx/>
              <a:buNone/>
              <a:tabLst/>
            </a:pPr>
            <a:endParaRPr lang="en-US" dirty="0"/>
          </a:p>
        </p:txBody>
      </p:sp>
      <p:sp>
        <p:nvSpPr>
          <p:cNvPr id="103" name="Rectangle 46">
            <a:extLst>
              <a:ext uri="{FF2B5EF4-FFF2-40B4-BE49-F238E27FC236}">
                <a16:creationId xmlns:a16="http://schemas.microsoft.com/office/drawing/2014/main" id="{B54B616A-4CD1-46F8-A1D3-22BEE1FC5101}"/>
              </a:ext>
            </a:extLst>
          </p:cNvPr>
          <p:cNvSpPr/>
          <p:nvPr/>
        </p:nvSpPr>
        <p:spPr>
          <a:xfrm>
            <a:off x="7256876" y="1344247"/>
            <a:ext cx="2886076" cy="2518638"/>
          </a:xfrm>
          <a:prstGeom prst="rect">
            <a:avLst/>
          </a:pr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1">
            <a:spAutoFit/>
          </a:bodyPr>
          <a:lstStyle/>
          <a:p>
            <a:pPr defTabSz="488950">
              <a:spcBef>
                <a:spcPct val="0"/>
              </a:spcBef>
              <a:spcAft>
                <a:spcPts val="200"/>
              </a:spcAft>
            </a:pPr>
            <a:r>
              <a:rPr lang="en-US" sz="1200" b="1" dirty="0">
                <a:solidFill>
                  <a:schemeClr val="accent1">
                    <a:lumMod val="75000"/>
                  </a:schemeClr>
                </a:solidFill>
                <a:latin typeface="Arial" pitchFamily="34" charset="0"/>
                <a:cs typeface="Arial" pitchFamily="34" charset="0"/>
              </a:rPr>
              <a:t>SESP Version 5</a:t>
            </a:r>
          </a:p>
          <a:p>
            <a:pPr marL="228600" indent="-228600" defTabSz="488950">
              <a:spcBef>
                <a:spcPct val="0"/>
              </a:spcBef>
              <a:spcAft>
                <a:spcPts val="200"/>
              </a:spcAft>
            </a:pPr>
            <a:r>
              <a:rPr lang="en-US" sz="1000" b="1" dirty="0">
                <a:solidFill>
                  <a:schemeClr val="tx2"/>
                </a:solidFill>
                <a:latin typeface="Arial" pitchFamily="34" charset="0"/>
                <a:cs typeface="Arial" pitchFamily="34" charset="0"/>
              </a:rPr>
              <a:t>New Features –</a:t>
            </a:r>
          </a:p>
          <a:p>
            <a:pPr marL="228600" indent="-228600" defTabSz="488950">
              <a:spcBef>
                <a:spcPct val="0"/>
              </a:spcBef>
              <a:spcAft>
                <a:spcPts val="200"/>
              </a:spcAft>
            </a:pPr>
            <a:r>
              <a:rPr lang="en-US" sz="1000" dirty="0">
                <a:solidFill>
                  <a:schemeClr val="tx2"/>
                </a:solidFill>
                <a:latin typeface="Arial" pitchFamily="34" charset="0"/>
                <a:cs typeface="Arial" pitchFamily="34" charset="0"/>
              </a:rPr>
              <a:t>MDM implementation: </a:t>
            </a:r>
          </a:p>
          <a:p>
            <a:pPr marL="228600" indent="-228600" defTabSz="488950">
              <a:spcBef>
                <a:spcPct val="0"/>
              </a:spcBef>
              <a:spcAft>
                <a:spcPts val="200"/>
              </a:spcAft>
            </a:pPr>
            <a:r>
              <a:rPr lang="en-US" sz="1000" dirty="0">
                <a:solidFill>
                  <a:schemeClr val="tx2"/>
                </a:solidFill>
                <a:latin typeface="Arial" pitchFamily="34" charset="0"/>
                <a:cs typeface="Arial" pitchFamily="34" charset="0"/>
              </a:rPr>
              <a:t> VEE,</a:t>
            </a:r>
          </a:p>
          <a:p>
            <a:pPr marL="228600" indent="-228600" defTabSz="488950">
              <a:spcBef>
                <a:spcPct val="0"/>
              </a:spcBef>
              <a:spcAft>
                <a:spcPts val="200"/>
              </a:spcAft>
            </a:pPr>
            <a:r>
              <a:rPr lang="en-US" sz="1000" dirty="0">
                <a:solidFill>
                  <a:schemeClr val="tx2"/>
                </a:solidFill>
                <a:latin typeface="Arial" pitchFamily="34" charset="0"/>
                <a:cs typeface="Arial" pitchFamily="34" charset="0"/>
              </a:rPr>
              <a:t> Event Management,</a:t>
            </a:r>
          </a:p>
          <a:p>
            <a:pPr marL="228600" indent="-228600" defTabSz="488950">
              <a:spcBef>
                <a:spcPct val="0"/>
              </a:spcBef>
              <a:spcAft>
                <a:spcPts val="200"/>
              </a:spcAft>
            </a:pPr>
            <a:r>
              <a:rPr lang="en-US" sz="1000" dirty="0">
                <a:solidFill>
                  <a:schemeClr val="tx2"/>
                </a:solidFill>
                <a:latin typeface="Arial" pitchFamily="34" charset="0"/>
                <a:cs typeface="Arial" pitchFamily="34" charset="0"/>
              </a:rPr>
              <a:t>Aggregation calculation</a:t>
            </a:r>
          </a:p>
          <a:p>
            <a:pPr marL="228600" indent="-228600" defTabSz="488950">
              <a:spcBef>
                <a:spcPct val="0"/>
              </a:spcBef>
              <a:spcAft>
                <a:spcPts val="200"/>
              </a:spcAft>
            </a:pPr>
            <a:r>
              <a:rPr lang="en-US" sz="1000" dirty="0">
                <a:solidFill>
                  <a:schemeClr val="tx2"/>
                </a:solidFill>
                <a:latin typeface="Arial" pitchFamily="34" charset="0"/>
                <a:cs typeface="Arial" pitchFamily="34" charset="0"/>
              </a:rPr>
              <a:t>TSP, Fingerprint authentication and </a:t>
            </a:r>
          </a:p>
          <a:p>
            <a:pPr marL="228600" indent="-228600" defTabSz="488950">
              <a:spcBef>
                <a:spcPct val="0"/>
              </a:spcBef>
              <a:spcAft>
                <a:spcPts val="200"/>
              </a:spcAft>
            </a:pPr>
            <a:r>
              <a:rPr lang="en-US" sz="1000" dirty="0">
                <a:solidFill>
                  <a:schemeClr val="tx2"/>
                </a:solidFill>
                <a:latin typeface="Arial" pitchFamily="34" charset="0"/>
                <a:cs typeface="Arial" pitchFamily="34" charset="0"/>
              </a:rPr>
              <a:t>Contextual Help in Android</a:t>
            </a:r>
          </a:p>
          <a:p>
            <a:pPr marL="228600" indent="-228600" defTabSz="488950">
              <a:spcBef>
                <a:spcPct val="0"/>
              </a:spcBef>
              <a:spcAft>
                <a:spcPts val="200"/>
              </a:spcAft>
            </a:pPr>
            <a:r>
              <a:rPr lang="en-US" sz="1000" dirty="0">
                <a:solidFill>
                  <a:schemeClr val="tx2"/>
                </a:solidFill>
                <a:latin typeface="Arial" pitchFamily="34" charset="0"/>
                <a:cs typeface="Arial" pitchFamily="34" charset="0"/>
              </a:rPr>
              <a:t>Reporting solution in Power BI and ELK stack </a:t>
            </a:r>
          </a:p>
          <a:p>
            <a:pPr marL="228600" indent="-228600" defTabSz="488950">
              <a:spcBef>
                <a:spcPct val="0"/>
              </a:spcBef>
              <a:spcAft>
                <a:spcPts val="200"/>
              </a:spcAft>
            </a:pPr>
            <a:r>
              <a:rPr lang="en-US" sz="1000" dirty="0">
                <a:solidFill>
                  <a:schemeClr val="tx2"/>
                </a:solidFill>
                <a:latin typeface="Arial" pitchFamily="34" charset="0"/>
                <a:cs typeface="Arial" pitchFamily="34" charset="0"/>
              </a:rPr>
              <a:t>Solar panel implementation</a:t>
            </a:r>
          </a:p>
          <a:p>
            <a:pPr marL="228600" indent="-228600" defTabSz="488950">
              <a:spcBef>
                <a:spcPct val="0"/>
              </a:spcBef>
              <a:spcAft>
                <a:spcPts val="200"/>
              </a:spcAft>
            </a:pPr>
            <a:r>
              <a:rPr lang="en-US" sz="1000" b="1" dirty="0">
                <a:solidFill>
                  <a:schemeClr val="tx2"/>
                </a:solidFill>
                <a:latin typeface="Arial" pitchFamily="34" charset="0"/>
                <a:cs typeface="Arial" pitchFamily="34" charset="0"/>
              </a:rPr>
              <a:t>Enhancement –</a:t>
            </a:r>
          </a:p>
          <a:p>
            <a:pPr marL="228600" indent="-228600" defTabSz="488950">
              <a:spcBef>
                <a:spcPct val="0"/>
              </a:spcBef>
              <a:spcAft>
                <a:spcPts val="200"/>
              </a:spcAft>
            </a:pPr>
            <a:r>
              <a:rPr lang="en-US" sz="1000" dirty="0">
                <a:solidFill>
                  <a:schemeClr val="tx2"/>
                </a:solidFill>
                <a:latin typeface="Arial" pitchFamily="34" charset="0"/>
                <a:cs typeface="Arial" pitchFamily="34" charset="0"/>
              </a:rPr>
              <a:t>Android Stepper GUI</a:t>
            </a:r>
          </a:p>
          <a:p>
            <a:pPr marL="228600" indent="-228600" defTabSz="488950">
              <a:spcBef>
                <a:spcPct val="0"/>
              </a:spcBef>
              <a:spcAft>
                <a:spcPts val="200"/>
              </a:spcAft>
            </a:pPr>
            <a:r>
              <a:rPr lang="en-US" sz="1000" dirty="0">
                <a:solidFill>
                  <a:schemeClr val="tx2"/>
                </a:solidFill>
                <a:latin typeface="Arial" pitchFamily="34" charset="0"/>
                <a:cs typeface="Arial" pitchFamily="34" charset="0"/>
              </a:rPr>
              <a:t>SESP as SaaS</a:t>
            </a:r>
          </a:p>
          <a:p>
            <a:pPr marL="228600" indent="-228600" defTabSz="488950">
              <a:spcBef>
                <a:spcPct val="0"/>
              </a:spcBef>
              <a:spcAft>
                <a:spcPts val="200"/>
              </a:spcAft>
            </a:pPr>
            <a:endParaRPr lang="en-US" sz="1000" dirty="0">
              <a:solidFill>
                <a:schemeClr val="tx2"/>
              </a:solidFill>
              <a:latin typeface="Arial" pitchFamily="34" charset="0"/>
              <a:cs typeface="Arial" pitchFamily="34" charset="0"/>
            </a:endParaRPr>
          </a:p>
        </p:txBody>
      </p:sp>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lobal Utilities Sector_2017_Template">
  <a:themeElements>
    <a:clrScheme name="Utilities">
      <a:dk1>
        <a:srgbClr val="00234B"/>
      </a:dk1>
      <a:lt1>
        <a:srgbClr val="FFFFFF"/>
      </a:lt1>
      <a:dk2>
        <a:srgbClr val="2E2E2E"/>
      </a:dk2>
      <a:lt2>
        <a:srgbClr val="BDE691"/>
      </a:lt2>
      <a:accent1>
        <a:srgbClr val="598E20"/>
      </a:accent1>
      <a:accent2>
        <a:srgbClr val="ED771A"/>
      </a:accent2>
      <a:accent3>
        <a:srgbClr val="0098CC"/>
      </a:accent3>
      <a:accent4>
        <a:srgbClr val="FECC26"/>
      </a:accent4>
      <a:accent5>
        <a:srgbClr val="B70132"/>
      </a:accent5>
      <a:accent6>
        <a:srgbClr val="BDBD00"/>
      </a:accent6>
      <a:hlink>
        <a:srgbClr val="44D2FF"/>
      </a:hlink>
      <a:folHlink>
        <a:srgbClr val="840026"/>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accent1"/>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2000" b="1" i="0" u="none" strike="noStrike" cap="none" normalizeH="0" baseline="0" dirty="0" smtClean="0">
            <a:ln>
              <a:noFill/>
            </a:ln>
            <a:solidFill>
              <a:schemeClr val="bg1"/>
            </a:solidFill>
            <a:effectLst/>
            <a:latin typeface="Arial" charset="0"/>
            <a:cs typeface="Arial" charset="0"/>
          </a:defRPr>
        </a:defPPr>
      </a:lst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Utilities 2016 Template_Closing slides">
  <a:themeElements>
    <a:clrScheme name="Utilities">
      <a:dk1>
        <a:srgbClr val="00234B"/>
      </a:dk1>
      <a:lt1>
        <a:srgbClr val="FFFFFF"/>
      </a:lt1>
      <a:dk2>
        <a:srgbClr val="2E2E2E"/>
      </a:dk2>
      <a:lt2>
        <a:srgbClr val="BDE691"/>
      </a:lt2>
      <a:accent1>
        <a:srgbClr val="598E20"/>
      </a:accent1>
      <a:accent2>
        <a:srgbClr val="ED771A"/>
      </a:accent2>
      <a:accent3>
        <a:srgbClr val="0098CC"/>
      </a:accent3>
      <a:accent4>
        <a:srgbClr val="FECC26"/>
      </a:accent4>
      <a:accent5>
        <a:srgbClr val="B70132"/>
      </a:accent5>
      <a:accent6>
        <a:srgbClr val="BDBD00"/>
      </a:accent6>
      <a:hlink>
        <a:srgbClr val="44D2FF"/>
      </a:hlink>
      <a:folHlink>
        <a:srgbClr val="84002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lobal Utilities Sector_2017_Template</Template>
  <TotalTime>6472</TotalTime>
  <Words>1047</Words>
  <Application>Microsoft Office PowerPoint</Application>
  <PresentationFormat>A4 Paper (210x297 mm)</PresentationFormat>
  <Paragraphs>220</Paragraphs>
  <Slides>10</Slides>
  <Notes>2</Notes>
  <HiddenSlides>2</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7" baseType="lpstr">
      <vt:lpstr>Arial</vt:lpstr>
      <vt:lpstr>Calibri</vt:lpstr>
      <vt:lpstr>Verdana</vt:lpstr>
      <vt:lpstr>Wingdings</vt:lpstr>
      <vt:lpstr>Global Utilities Sector_2017_Template</vt:lpstr>
      <vt:lpstr>Utilities 2016 Template_Closing slides</vt:lpstr>
      <vt:lpstr>think-cell Slide</vt:lpstr>
      <vt:lpstr>SESP in Smart Meter Network Operations</vt:lpstr>
      <vt:lpstr>Technology Stack</vt:lpstr>
      <vt:lpstr>Technology Stack</vt:lpstr>
      <vt:lpstr>SESP evolution story</vt:lpstr>
      <vt:lpstr>Product release timelines</vt:lpstr>
      <vt:lpstr>Release Summary 3.10 – 3.22</vt:lpstr>
      <vt:lpstr>Release Summary 4.0 – 4.1</vt:lpstr>
      <vt:lpstr>Release Summary 4.2 – 5.0</vt:lpstr>
      <vt:lpstr>Release Summary </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Utilities Sector</dc:title>
  <dc:creator>malkar</dc:creator>
  <cp:lastModifiedBy>Ghosh, Abhishek</cp:lastModifiedBy>
  <cp:revision>1843</cp:revision>
  <dcterms:created xsi:type="dcterms:W3CDTF">2017-03-02T05:51:05Z</dcterms:created>
  <dcterms:modified xsi:type="dcterms:W3CDTF">2019-08-09T14:34:09Z</dcterms:modified>
</cp:coreProperties>
</file>